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xls" ContentType="application/vnd.ms-excel"/>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8.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9.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0.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11.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12.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14.xml" ContentType="application/vnd.openxmlformats-officedocument.theme+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15.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16.xml" ContentType="application/vnd.openxmlformats-officedocument.theme+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17.xml" ContentType="application/vnd.openxmlformats-officedocument.theme+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18.xml" ContentType="application/vnd.openxmlformats-officedocument.theme+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theme/theme19.xml" ContentType="application/vnd.openxmlformats-officedocument.theme+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20.xml" ContentType="application/vnd.openxmlformats-officedocument.theme+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21.xml" ContentType="application/vnd.openxmlformats-officedocument.theme+xml"/>
  <Override PartName="/ppt/tags/tag2.xml" ContentType="application/vnd.openxmlformats-officedocument.presentationml.tags+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theme/theme22.xml" ContentType="application/vnd.openxmlformats-officedocument.theme+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theme/theme23.xml" ContentType="application/vnd.openxmlformats-officedocument.theme+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4.xml" ContentType="application/vnd.openxmlformats-officedocument.theme+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2" r:id="rId3"/>
    <p:sldMasterId id="2147483695" r:id="rId4"/>
    <p:sldMasterId id="2147483717" r:id="rId5"/>
    <p:sldMasterId id="2147483739" r:id="rId6"/>
    <p:sldMasterId id="2147483761" r:id="rId7"/>
    <p:sldMasterId id="2147483783" r:id="rId8"/>
    <p:sldMasterId id="2147483805" r:id="rId9"/>
    <p:sldMasterId id="2147483827" r:id="rId10"/>
    <p:sldMasterId id="2147483849" r:id="rId11"/>
    <p:sldMasterId id="2147483871" r:id="rId12"/>
    <p:sldMasterId id="2147483893" r:id="rId13"/>
    <p:sldMasterId id="2147483937" r:id="rId14"/>
    <p:sldMasterId id="2147483997" r:id="rId15"/>
    <p:sldMasterId id="2147484019" r:id="rId16"/>
    <p:sldMasterId id="2147484041" r:id="rId17"/>
    <p:sldMasterId id="2147484063" r:id="rId18"/>
    <p:sldMasterId id="2147484085" r:id="rId19"/>
    <p:sldMasterId id="2147484107" r:id="rId20"/>
    <p:sldMasterId id="2147484129" r:id="rId21"/>
    <p:sldMasterId id="2147484173" r:id="rId22"/>
    <p:sldMasterId id="2147484185" r:id="rId23"/>
    <p:sldMasterId id="2147484207" r:id="rId24"/>
    <p:sldMasterId id="2147484225" r:id="rId25"/>
  </p:sldMasterIdLst>
  <p:notesMasterIdLst>
    <p:notesMasterId r:id="rId56"/>
  </p:notesMasterIdLst>
  <p:sldIdLst>
    <p:sldId id="256" r:id="rId26"/>
    <p:sldId id="257" r:id="rId27"/>
    <p:sldId id="258" r:id="rId28"/>
    <p:sldId id="259" r:id="rId29"/>
    <p:sldId id="260" r:id="rId30"/>
    <p:sldId id="261" r:id="rId31"/>
    <p:sldId id="262" r:id="rId32"/>
    <p:sldId id="263" r:id="rId33"/>
    <p:sldId id="264" r:id="rId34"/>
    <p:sldId id="265" r:id="rId35"/>
    <p:sldId id="266" r:id="rId36"/>
    <p:sldId id="267" r:id="rId37"/>
    <p:sldId id="268" r:id="rId38"/>
    <p:sldId id="269" r:id="rId39"/>
    <p:sldId id="270" r:id="rId40"/>
    <p:sldId id="271" r:id="rId41"/>
    <p:sldId id="272" r:id="rId42"/>
    <p:sldId id="273" r:id="rId43"/>
    <p:sldId id="280" r:id="rId44"/>
    <p:sldId id="281" r:id="rId45"/>
    <p:sldId id="274" r:id="rId46"/>
    <p:sldId id="275" r:id="rId47"/>
    <p:sldId id="276" r:id="rId48"/>
    <p:sldId id="277" r:id="rId49"/>
    <p:sldId id="282" r:id="rId50"/>
    <p:sldId id="283" r:id="rId51"/>
    <p:sldId id="285" r:id="rId52"/>
    <p:sldId id="286" r:id="rId53"/>
    <p:sldId id="287" r:id="rId54"/>
    <p:sldId id="288" r:id="rId55"/>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3" d="100"/>
          <a:sy n="103" d="100"/>
        </p:scale>
        <p:origin x="270" y="96"/>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21.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4.xml"/><Relationship Id="rId41" Type="http://schemas.openxmlformats.org/officeDocument/2006/relationships/slide" Target="slides/slide16.xml"/><Relationship Id="rId54" Type="http://schemas.openxmlformats.org/officeDocument/2006/relationships/slide" Target="slides/slide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26.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oleObject" Target="file:///\\BAZIS\EpiDOC\&#1043;&#1054;&#1057;&#1044;&#1054;&#1050;&#1051;&#1040;&#1044;\&#1043;&#1054;&#1057;&#1044;&#1054;&#1050;&#1051;&#1040;&#1044;%20%202015\&#1043;&#1056;&#1040;&#1060;&#1048;&#1050;&#1048;%20&#1074;%20&#1043;&#1054;&#1057;&#1044;&#1054;&#1050;&#1051;&#1040;&#1044;%202015%20&#1074;%20&#1055;&#1056;&#1040;&#1042;&#1082;&#1077;.xls"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4467425025853186E-2"/>
          <c:y val="1.8644067796610181E-2"/>
          <c:w val="0.92864529472595669"/>
          <c:h val="0.79753881695639228"/>
        </c:manualLayout>
      </c:layout>
      <c:lineChart>
        <c:grouping val="standard"/>
        <c:varyColors val="0"/>
        <c:ser>
          <c:idx val="0"/>
          <c:order val="0"/>
          <c:spPr>
            <a:ln w="38100">
              <a:solidFill>
                <a:srgbClr val="FFC000"/>
              </a:solidFill>
              <a:prstDash val="solid"/>
            </a:ln>
          </c:spPr>
          <c:marker>
            <c:symbol val="diamond"/>
            <c:size val="9"/>
            <c:spPr>
              <a:solidFill>
                <a:srgbClr val="FFC000"/>
              </a:solidFill>
              <a:ln>
                <a:solidFill>
                  <a:srgbClr val="ACCBF9">
                    <a:lumMod val="75000"/>
                  </a:srgbClr>
                </a:solidFill>
                <a:prstDash val="solid"/>
              </a:ln>
            </c:spPr>
          </c:marker>
          <c:dLbls>
            <c:dLbl>
              <c:idx val="2"/>
              <c:delete val="1"/>
              <c:extLst xmlns:c16r2="http://schemas.microsoft.com/office/drawing/2015/06/chart">
                <c:ext xmlns:c16="http://schemas.microsoft.com/office/drawing/2014/chart" uri="{C3380CC4-5D6E-409C-BE32-E72D297353CC}">
                  <c16:uniqueId val="{00000000-E4AA-443C-A1C0-D1B096FF133C}"/>
                </c:ext>
                <c:ext xmlns:c15="http://schemas.microsoft.com/office/drawing/2012/chart" uri="{CE6537A1-D6FC-4f65-9D91-7224C49458BB}"/>
              </c:extLst>
            </c:dLbl>
            <c:dLbl>
              <c:idx val="4"/>
              <c:delete val="1"/>
              <c:extLst xmlns:c16r2="http://schemas.microsoft.com/office/drawing/2015/06/chart">
                <c:ext xmlns:c16="http://schemas.microsoft.com/office/drawing/2014/chart" uri="{C3380CC4-5D6E-409C-BE32-E72D297353CC}">
                  <c16:uniqueId val="{00000001-E4AA-443C-A1C0-D1B096FF133C}"/>
                </c:ext>
                <c:ext xmlns:c15="http://schemas.microsoft.com/office/drawing/2012/chart" uri="{CE6537A1-D6FC-4f65-9D91-7224C49458BB}"/>
              </c:extLst>
            </c:dLbl>
            <c:dLbl>
              <c:idx val="5"/>
              <c:delete val="1"/>
              <c:extLst xmlns:c16r2="http://schemas.microsoft.com/office/drawing/2015/06/chart">
                <c:ext xmlns:c16="http://schemas.microsoft.com/office/drawing/2014/chart" uri="{C3380CC4-5D6E-409C-BE32-E72D297353CC}">
                  <c16:uniqueId val="{00000002-E4AA-443C-A1C0-D1B096FF133C}"/>
                </c:ext>
                <c:ext xmlns:c15="http://schemas.microsoft.com/office/drawing/2012/chart" uri="{CE6537A1-D6FC-4f65-9D91-7224C49458BB}"/>
              </c:extLst>
            </c:dLbl>
            <c:dLbl>
              <c:idx val="6"/>
              <c:delete val="1"/>
              <c:extLst xmlns:c16r2="http://schemas.microsoft.com/office/drawing/2015/06/chart">
                <c:ext xmlns:c16="http://schemas.microsoft.com/office/drawing/2014/chart" uri="{C3380CC4-5D6E-409C-BE32-E72D297353CC}">
                  <c16:uniqueId val="{00000003-E4AA-443C-A1C0-D1B096FF133C}"/>
                </c:ext>
                <c:ext xmlns:c15="http://schemas.microsoft.com/office/drawing/2012/chart" uri="{CE6537A1-D6FC-4f65-9D91-7224C49458BB}"/>
              </c:extLst>
            </c:dLbl>
            <c:dLbl>
              <c:idx val="8"/>
              <c:delete val="1"/>
              <c:extLst xmlns:c16r2="http://schemas.microsoft.com/office/drawing/2015/06/chart">
                <c:ext xmlns:c16="http://schemas.microsoft.com/office/drawing/2014/chart" uri="{C3380CC4-5D6E-409C-BE32-E72D297353CC}">
                  <c16:uniqueId val="{00000004-E4AA-443C-A1C0-D1B096FF133C}"/>
                </c:ext>
                <c:ext xmlns:c15="http://schemas.microsoft.com/office/drawing/2012/chart" uri="{CE6537A1-D6FC-4f65-9D91-7224C49458BB}"/>
              </c:extLst>
            </c:dLbl>
            <c:dLbl>
              <c:idx val="9"/>
              <c:delete val="1"/>
              <c:extLst xmlns:c16r2="http://schemas.microsoft.com/office/drawing/2015/06/chart">
                <c:ext xmlns:c16="http://schemas.microsoft.com/office/drawing/2014/chart" uri="{C3380CC4-5D6E-409C-BE32-E72D297353CC}">
                  <c16:uniqueId val="{00000005-E4AA-443C-A1C0-D1B096FF133C}"/>
                </c:ext>
                <c:ext xmlns:c15="http://schemas.microsoft.com/office/drawing/2012/chart" uri="{CE6537A1-D6FC-4f65-9D91-7224C49458BB}"/>
              </c:extLst>
            </c:dLbl>
            <c:dLbl>
              <c:idx val="10"/>
              <c:delete val="1"/>
              <c:extLst xmlns:c16r2="http://schemas.microsoft.com/office/drawing/2015/06/chart">
                <c:ext xmlns:c16="http://schemas.microsoft.com/office/drawing/2014/chart" uri="{C3380CC4-5D6E-409C-BE32-E72D297353CC}">
                  <c16:uniqueId val="{00000006-E4AA-443C-A1C0-D1B096FF133C}"/>
                </c:ext>
                <c:ext xmlns:c15="http://schemas.microsoft.com/office/drawing/2012/chart" uri="{CE6537A1-D6FC-4f65-9D91-7224C49458BB}"/>
              </c:extLst>
            </c:dLbl>
            <c:dLbl>
              <c:idx val="11"/>
              <c:delete val="1"/>
              <c:extLst xmlns:c16r2="http://schemas.microsoft.com/office/drawing/2015/06/chart">
                <c:ext xmlns:c16="http://schemas.microsoft.com/office/drawing/2014/chart" uri="{C3380CC4-5D6E-409C-BE32-E72D297353CC}">
                  <c16:uniqueId val="{00000007-E4AA-443C-A1C0-D1B096FF133C}"/>
                </c:ext>
                <c:ext xmlns:c15="http://schemas.microsoft.com/office/drawing/2012/chart" uri="{CE6537A1-D6FC-4f65-9D91-7224C49458BB}"/>
              </c:extLst>
            </c:dLbl>
            <c:dLbl>
              <c:idx val="12"/>
              <c:delete val="1"/>
              <c:extLst xmlns:c16r2="http://schemas.microsoft.com/office/drawing/2015/06/chart">
                <c:ext xmlns:c16="http://schemas.microsoft.com/office/drawing/2014/chart" uri="{C3380CC4-5D6E-409C-BE32-E72D297353CC}">
                  <c16:uniqueId val="{00000008-E4AA-443C-A1C0-D1B096FF133C}"/>
                </c:ext>
                <c:ext xmlns:c15="http://schemas.microsoft.com/office/drawing/2012/chart" uri="{CE6537A1-D6FC-4f65-9D91-7224C49458BB}"/>
              </c:extLst>
            </c:dLbl>
            <c:dLbl>
              <c:idx val="13"/>
              <c:delete val="1"/>
              <c:extLst xmlns:c16r2="http://schemas.microsoft.com/office/drawing/2015/06/chart">
                <c:ext xmlns:c16="http://schemas.microsoft.com/office/drawing/2014/chart" uri="{C3380CC4-5D6E-409C-BE32-E72D297353CC}">
                  <c16:uniqueId val="{00000009-E4AA-443C-A1C0-D1B096FF133C}"/>
                </c:ext>
                <c:ext xmlns:c15="http://schemas.microsoft.com/office/drawing/2012/chart" uri="{CE6537A1-D6FC-4f65-9D91-7224C49458BB}"/>
              </c:extLst>
            </c:dLbl>
            <c:dLbl>
              <c:idx val="14"/>
              <c:delete val="1"/>
              <c:extLst xmlns:c16r2="http://schemas.microsoft.com/office/drawing/2015/06/chart">
                <c:ext xmlns:c16="http://schemas.microsoft.com/office/drawing/2014/chart" uri="{C3380CC4-5D6E-409C-BE32-E72D297353CC}">
                  <c16:uniqueId val="{0000000A-E4AA-443C-A1C0-D1B096FF133C}"/>
                </c:ext>
                <c:ext xmlns:c15="http://schemas.microsoft.com/office/drawing/2012/chart" uri="{CE6537A1-D6FC-4f65-9D91-7224C49458BB}"/>
              </c:extLst>
            </c:dLbl>
            <c:dLbl>
              <c:idx val="15"/>
              <c:delete val="1"/>
              <c:extLst xmlns:c16r2="http://schemas.microsoft.com/office/drawing/2015/06/chart">
                <c:ext xmlns:c16="http://schemas.microsoft.com/office/drawing/2014/chart" uri="{C3380CC4-5D6E-409C-BE32-E72D297353CC}">
                  <c16:uniqueId val="{0000000B-E4AA-443C-A1C0-D1B096FF133C}"/>
                </c:ext>
                <c:ext xmlns:c15="http://schemas.microsoft.com/office/drawing/2012/chart" uri="{CE6537A1-D6FC-4f65-9D91-7224C49458BB}"/>
              </c:extLst>
            </c:dLbl>
            <c:dLbl>
              <c:idx val="16"/>
              <c:delete val="1"/>
              <c:extLst xmlns:c16r2="http://schemas.microsoft.com/office/drawing/2015/06/chart">
                <c:ext xmlns:c16="http://schemas.microsoft.com/office/drawing/2014/chart" uri="{C3380CC4-5D6E-409C-BE32-E72D297353CC}">
                  <c16:uniqueId val="{0000000C-E4AA-443C-A1C0-D1B096FF133C}"/>
                </c:ext>
                <c:ext xmlns:c15="http://schemas.microsoft.com/office/drawing/2012/chart" uri="{CE6537A1-D6FC-4f65-9D91-7224C49458BB}"/>
              </c:extLst>
            </c:dLbl>
            <c:dLbl>
              <c:idx val="17"/>
              <c:delete val="1"/>
              <c:extLst xmlns:c16r2="http://schemas.microsoft.com/office/drawing/2015/06/chart">
                <c:ext xmlns:c16="http://schemas.microsoft.com/office/drawing/2014/chart" uri="{C3380CC4-5D6E-409C-BE32-E72D297353CC}">
                  <c16:uniqueId val="{0000000D-E4AA-443C-A1C0-D1B096FF133C}"/>
                </c:ext>
                <c:ext xmlns:c15="http://schemas.microsoft.com/office/drawing/2012/chart" uri="{CE6537A1-D6FC-4f65-9D91-7224C49458BB}"/>
              </c:extLst>
            </c:dLbl>
            <c:dLbl>
              <c:idx val="18"/>
              <c:delete val="1"/>
              <c:extLst xmlns:c16r2="http://schemas.microsoft.com/office/drawing/2015/06/chart">
                <c:ext xmlns:c16="http://schemas.microsoft.com/office/drawing/2014/chart" uri="{C3380CC4-5D6E-409C-BE32-E72D297353CC}">
                  <c16:uniqueId val="{0000000E-E4AA-443C-A1C0-D1B096FF133C}"/>
                </c:ext>
                <c:ext xmlns:c15="http://schemas.microsoft.com/office/drawing/2012/chart" uri="{CE6537A1-D6FC-4f65-9D91-7224C49458BB}"/>
              </c:extLst>
            </c:dLbl>
            <c:dLbl>
              <c:idx val="19"/>
              <c:layout>
                <c:manualLayout>
                  <c:x val="-7.3155558286355046E-2"/>
                  <c:y val="-8.294759745876179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E4AA-443C-A1C0-D1B096FF133C}"/>
                </c:ext>
                <c:ext xmlns:c15="http://schemas.microsoft.com/office/drawing/2012/chart" uri="{CE6537A1-D6FC-4f65-9D91-7224C49458BB}">
                  <c15:layout/>
                </c:ext>
              </c:extLst>
            </c:dLbl>
            <c:dLbl>
              <c:idx val="20"/>
              <c:delete val="1"/>
              <c:extLst xmlns:c16r2="http://schemas.microsoft.com/office/drawing/2015/06/chart">
                <c:ext xmlns:c16="http://schemas.microsoft.com/office/drawing/2014/chart" uri="{C3380CC4-5D6E-409C-BE32-E72D297353CC}">
                  <c16:uniqueId val="{00000010-E4AA-443C-A1C0-D1B096FF133C}"/>
                </c:ext>
                <c:ext xmlns:c15="http://schemas.microsoft.com/office/drawing/2012/chart" uri="{CE6537A1-D6FC-4f65-9D91-7224C49458BB}"/>
              </c:extLst>
            </c:dLbl>
            <c:dLbl>
              <c:idx val="21"/>
              <c:layout>
                <c:manualLayout>
                  <c:x val="-1.8288889571588762E-2"/>
                  <c:y val="-5.3323455509204011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E4AA-443C-A1C0-D1B096FF133C}"/>
                </c:ext>
                <c:ext xmlns:c15="http://schemas.microsoft.com/office/drawing/2012/chart" uri="{CE6537A1-D6FC-4f65-9D91-7224C49458BB}">
                  <c15:layout/>
                </c:ext>
              </c:extLst>
            </c:dLbl>
            <c:spPr>
              <a:noFill/>
              <a:ln>
                <a:noFill/>
              </a:ln>
              <a:effectLst/>
            </c:spPr>
            <c:txPr>
              <a:bodyPr/>
              <a:lstStyle/>
              <a:p>
                <a:pPr>
                  <a:defRPr sz="1200"/>
                </a:pPr>
                <a:endParaRPr lang="ru-RU"/>
              </a:p>
            </c:txPr>
            <c:dLblPos val="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данные1!$Y$15:$AT$15</c:f>
              <c:numCache>
                <c:formatCode>General</c:formatCode>
                <c:ptCount val="22"/>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numCache>
            </c:numRef>
          </c:cat>
          <c:val>
            <c:numRef>
              <c:f>данные1!$Y$17:$AT$17</c:f>
              <c:numCache>
                <c:formatCode>General</c:formatCode>
                <c:ptCount val="22"/>
                <c:pt idx="0">
                  <c:v>2</c:v>
                </c:pt>
                <c:pt idx="1">
                  <c:v>5.2</c:v>
                </c:pt>
                <c:pt idx="2">
                  <c:v>0.7</c:v>
                </c:pt>
                <c:pt idx="3">
                  <c:v>0.2</c:v>
                </c:pt>
                <c:pt idx="4">
                  <c:v>0.3</c:v>
                </c:pt>
                <c:pt idx="5">
                  <c:v>0</c:v>
                </c:pt>
                <c:pt idx="6">
                  <c:v>0</c:v>
                </c:pt>
                <c:pt idx="7">
                  <c:v>0.1</c:v>
                </c:pt>
                <c:pt idx="8">
                  <c:v>0.12</c:v>
                </c:pt>
                <c:pt idx="9">
                  <c:v>0.14000000000000001</c:v>
                </c:pt>
                <c:pt idx="10">
                  <c:v>0</c:v>
                </c:pt>
                <c:pt idx="11">
                  <c:v>0.14000000000000001</c:v>
                </c:pt>
                <c:pt idx="12">
                  <c:v>0</c:v>
                </c:pt>
                <c:pt idx="13">
                  <c:v>0.22</c:v>
                </c:pt>
                <c:pt idx="14">
                  <c:v>0.22</c:v>
                </c:pt>
                <c:pt idx="15">
                  <c:v>0</c:v>
                </c:pt>
                <c:pt idx="16">
                  <c:v>0.15</c:v>
                </c:pt>
                <c:pt idx="17">
                  <c:v>0.22</c:v>
                </c:pt>
                <c:pt idx="18">
                  <c:v>0.15</c:v>
                </c:pt>
                <c:pt idx="19">
                  <c:v>0</c:v>
                </c:pt>
                <c:pt idx="20">
                  <c:v>0</c:v>
                </c:pt>
                <c:pt idx="21">
                  <c:v>0</c:v>
                </c:pt>
              </c:numCache>
            </c:numRef>
          </c:val>
          <c:smooth val="0"/>
          <c:extLst xmlns:c16r2="http://schemas.microsoft.com/office/drawing/2015/06/chart">
            <c:ext xmlns:c16="http://schemas.microsoft.com/office/drawing/2014/chart" uri="{C3380CC4-5D6E-409C-BE32-E72D297353CC}">
              <c16:uniqueId val="{00000012-E4AA-443C-A1C0-D1B096FF133C}"/>
            </c:ext>
          </c:extLst>
        </c:ser>
        <c:dLbls>
          <c:showLegendKey val="0"/>
          <c:showVal val="0"/>
          <c:showCatName val="0"/>
          <c:showSerName val="0"/>
          <c:showPercent val="0"/>
          <c:showBubbleSize val="0"/>
        </c:dLbls>
        <c:marker val="1"/>
        <c:smooth val="0"/>
        <c:axId val="12974096"/>
        <c:axId val="12973704"/>
      </c:lineChart>
      <c:catAx>
        <c:axId val="12974096"/>
        <c:scaling>
          <c:orientation val="minMax"/>
        </c:scaling>
        <c:delete val="0"/>
        <c:axPos val="b"/>
        <c:numFmt formatCode="General" sourceLinked="1"/>
        <c:majorTickMark val="out"/>
        <c:minorTickMark val="none"/>
        <c:tickLblPos val="nextTo"/>
        <c:txPr>
          <a:bodyPr/>
          <a:lstStyle/>
          <a:p>
            <a:pPr>
              <a:defRPr sz="1800">
                <a:solidFill>
                  <a:srgbClr val="002060"/>
                </a:solidFill>
                <a:latin typeface="Arial Narrow" panose="020B0606020202030204" pitchFamily="34" charset="0"/>
              </a:defRPr>
            </a:pPr>
            <a:endParaRPr lang="ru-RU"/>
          </a:p>
        </c:txPr>
        <c:crossAx val="12973704"/>
        <c:crosses val="autoZero"/>
        <c:auto val="0"/>
        <c:lblAlgn val="ctr"/>
        <c:lblOffset val="100"/>
        <c:tickLblSkip val="1"/>
        <c:tickMarkSkip val="1"/>
        <c:noMultiLvlLbl val="0"/>
      </c:catAx>
      <c:valAx>
        <c:axId val="12973704"/>
        <c:scaling>
          <c:orientation val="minMax"/>
        </c:scaling>
        <c:delete val="1"/>
        <c:axPos val="l"/>
        <c:majorGridlines/>
        <c:numFmt formatCode="General" sourceLinked="1"/>
        <c:majorTickMark val="cross"/>
        <c:minorTickMark val="none"/>
        <c:tickLblPos val="nextTo"/>
        <c:crossAx val="12974096"/>
        <c:crosses val="autoZero"/>
        <c:crossBetween val="between"/>
      </c:valAx>
      <c:spPr>
        <a:noFill/>
        <a:ln w="25400">
          <a:noFill/>
        </a:ln>
      </c:spPr>
    </c:plotArea>
    <c:plotVisOnly val="1"/>
    <c:dispBlanksAs val="gap"/>
    <c:showDLblsOverMax val="0"/>
  </c:chart>
  <c:spPr>
    <a:noFill/>
    <a:ln w="9525">
      <a:noFill/>
    </a:ln>
  </c:spPr>
  <c:txPr>
    <a:bodyPr/>
    <a:lstStyle/>
    <a:p>
      <a:pPr>
        <a:defRPr sz="1000" b="0" i="0" u="none" strike="noStrike" baseline="0">
          <a:solidFill>
            <a:srgbClr val="000000"/>
          </a:solidFill>
          <a:latin typeface="Arial"/>
          <a:ea typeface="Arial"/>
          <a:cs typeface="Arial"/>
        </a:defRPr>
      </a:pPr>
      <a:endParaRPr lang="ru-RU"/>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D7410F-231C-4F04-B050-E6E87493639B}" type="doc">
      <dgm:prSet loTypeId="urn:microsoft.com/office/officeart/2005/8/layout/radial5" loCatId="cycle" qsTypeId="urn:microsoft.com/office/officeart/2005/8/quickstyle/3d2" qsCatId="3D" csTypeId="urn:microsoft.com/office/officeart/2005/8/colors/colorful1#1" csCatId="colorful" phldr="1"/>
      <dgm:spPr/>
      <dgm:t>
        <a:bodyPr/>
        <a:lstStyle/>
        <a:p>
          <a:endParaRPr lang="ru-RU"/>
        </a:p>
      </dgm:t>
    </dgm:pt>
    <dgm:pt modelId="{33CA2CE5-8241-4F1F-A40A-DDDE0EA74773}">
      <dgm:prSet phldrT="[Text]"/>
      <dgm:spPr/>
      <dgm:t>
        <a:bodyPr/>
        <a:lstStyle/>
        <a:p>
          <a:r>
            <a:rPr lang="ru-RU" dirty="0" smtClean="0"/>
            <a:t>РВИ</a:t>
          </a:r>
          <a:endParaRPr lang="ru-RU" dirty="0"/>
        </a:p>
      </dgm:t>
    </dgm:pt>
    <dgm:pt modelId="{185EBB8E-566C-41EB-A347-0E6C110CF05B}" type="parTrans" cxnId="{88D41DE8-1606-4024-B45B-C5BBDDCF80D9}">
      <dgm:prSet/>
      <dgm:spPr/>
      <dgm:t>
        <a:bodyPr/>
        <a:lstStyle/>
        <a:p>
          <a:endParaRPr lang="ru-RU"/>
        </a:p>
      </dgm:t>
    </dgm:pt>
    <dgm:pt modelId="{A1357B34-B44E-4730-968A-1E2802B58404}" type="sibTrans" cxnId="{88D41DE8-1606-4024-B45B-C5BBDDCF80D9}">
      <dgm:prSet/>
      <dgm:spPr/>
      <dgm:t>
        <a:bodyPr/>
        <a:lstStyle/>
        <a:p>
          <a:endParaRPr lang="ru-RU"/>
        </a:p>
      </dgm:t>
    </dgm:pt>
    <dgm:pt modelId="{16281331-B525-4F51-8BF5-0FE982C874D8}">
      <dgm:prSet phldrT="[Text]" custT="1"/>
      <dgm:spPr/>
      <dgm:t>
        <a:bodyPr/>
        <a:lstStyle/>
        <a:p>
          <a:r>
            <a:rPr lang="ru-RU" sz="2000" dirty="0" err="1" smtClean="0"/>
            <a:t>Гепатоспленомегалия</a:t>
          </a:r>
          <a:endParaRPr lang="ru-RU" sz="2000" dirty="0"/>
        </a:p>
      </dgm:t>
    </dgm:pt>
    <dgm:pt modelId="{49ED75C4-3057-4110-ADE4-8B6930330847}" type="parTrans" cxnId="{8EC3B944-1B6C-4943-A2B1-6F0C491B9E86}">
      <dgm:prSet/>
      <dgm:spPr/>
      <dgm:t>
        <a:bodyPr/>
        <a:lstStyle/>
        <a:p>
          <a:endParaRPr lang="ru-RU"/>
        </a:p>
      </dgm:t>
    </dgm:pt>
    <dgm:pt modelId="{FAE8A639-1E73-4EB7-B753-DE704811FB55}" type="sibTrans" cxnId="{8EC3B944-1B6C-4943-A2B1-6F0C491B9E86}">
      <dgm:prSet/>
      <dgm:spPr/>
      <dgm:t>
        <a:bodyPr/>
        <a:lstStyle/>
        <a:p>
          <a:endParaRPr lang="ru-RU"/>
        </a:p>
      </dgm:t>
    </dgm:pt>
    <dgm:pt modelId="{EFBD2A79-6638-407C-9194-C3A0F5A4D864}">
      <dgm:prSet phldrT="[Text]" custT="1"/>
      <dgm:spPr/>
      <dgm:t>
        <a:bodyPr/>
        <a:lstStyle/>
        <a:p>
          <a:r>
            <a:rPr lang="ru-RU" sz="2000" dirty="0" smtClean="0">
              <a:solidFill>
                <a:srgbClr val="FF0000"/>
              </a:solidFill>
            </a:rPr>
            <a:t>Пневмония</a:t>
          </a:r>
          <a:endParaRPr lang="ru-RU" sz="2000" dirty="0">
            <a:solidFill>
              <a:srgbClr val="FF0000"/>
            </a:solidFill>
          </a:endParaRPr>
        </a:p>
      </dgm:t>
    </dgm:pt>
    <dgm:pt modelId="{EC9299CB-342B-494A-8476-788FA0D7A57B}" type="parTrans" cxnId="{A1D8A944-3CA5-4FE4-B33B-314CF58319F1}">
      <dgm:prSet/>
      <dgm:spPr/>
      <dgm:t>
        <a:bodyPr/>
        <a:lstStyle/>
        <a:p>
          <a:endParaRPr lang="ru-RU"/>
        </a:p>
      </dgm:t>
    </dgm:pt>
    <dgm:pt modelId="{BE3065B6-1625-4C84-A429-08500C041B96}" type="sibTrans" cxnId="{A1D8A944-3CA5-4FE4-B33B-314CF58319F1}">
      <dgm:prSet/>
      <dgm:spPr/>
      <dgm:t>
        <a:bodyPr/>
        <a:lstStyle/>
        <a:p>
          <a:endParaRPr lang="ru-RU"/>
        </a:p>
      </dgm:t>
    </dgm:pt>
    <dgm:pt modelId="{853C8231-97DE-429D-9B7D-048AEA01ACC8}">
      <dgm:prSet phldrT="[Text]" custT="1"/>
      <dgm:spPr/>
      <dgm:t>
        <a:bodyPr/>
        <a:lstStyle/>
        <a:p>
          <a:r>
            <a:rPr lang="ru-RU" sz="2000" dirty="0" smtClean="0"/>
            <a:t>Сахарный диабет 1 типа</a:t>
          </a:r>
          <a:endParaRPr lang="ru-RU" sz="2000" dirty="0"/>
        </a:p>
      </dgm:t>
    </dgm:pt>
    <dgm:pt modelId="{6FE64B9E-D467-4105-A016-F6CBF3F996DB}" type="parTrans" cxnId="{758E00DD-6EC3-475C-AA7C-F3537813ABE3}">
      <dgm:prSet/>
      <dgm:spPr/>
      <dgm:t>
        <a:bodyPr/>
        <a:lstStyle/>
        <a:p>
          <a:endParaRPr lang="ru-RU"/>
        </a:p>
      </dgm:t>
    </dgm:pt>
    <dgm:pt modelId="{3F4862AE-9659-4A24-AD12-EEF434E4D0F1}" type="sibTrans" cxnId="{758E00DD-6EC3-475C-AA7C-F3537813ABE3}">
      <dgm:prSet/>
      <dgm:spPr/>
      <dgm:t>
        <a:bodyPr/>
        <a:lstStyle/>
        <a:p>
          <a:endParaRPr lang="ru-RU"/>
        </a:p>
      </dgm:t>
    </dgm:pt>
    <dgm:pt modelId="{FB495F86-2638-463C-B85C-159852E4B59B}">
      <dgm:prSet phldrT="[Text]" custT="1"/>
      <dgm:spPr/>
      <dgm:t>
        <a:bodyPr/>
        <a:lstStyle/>
        <a:p>
          <a:r>
            <a:rPr lang="ru-RU" sz="2000" dirty="0" smtClean="0"/>
            <a:t>Миокардит</a:t>
          </a:r>
          <a:endParaRPr lang="ru-RU" sz="2000" dirty="0"/>
        </a:p>
      </dgm:t>
    </dgm:pt>
    <dgm:pt modelId="{2C3011BD-EAB3-4E0F-91EB-BD6D56DCABAF}" type="parTrans" cxnId="{EFDE73E2-9A91-4505-AAC4-6EB209601AD9}">
      <dgm:prSet/>
      <dgm:spPr/>
      <dgm:t>
        <a:bodyPr/>
        <a:lstStyle/>
        <a:p>
          <a:endParaRPr lang="ru-RU"/>
        </a:p>
      </dgm:t>
    </dgm:pt>
    <dgm:pt modelId="{71F2654D-9977-49C9-A87A-EA5BDC67469D}" type="sibTrans" cxnId="{EFDE73E2-9A91-4505-AAC4-6EB209601AD9}">
      <dgm:prSet/>
      <dgm:spPr/>
      <dgm:t>
        <a:bodyPr/>
        <a:lstStyle/>
        <a:p>
          <a:endParaRPr lang="ru-RU"/>
        </a:p>
      </dgm:t>
    </dgm:pt>
    <dgm:pt modelId="{1B300730-9F25-408D-AD59-3E4335ADD59C}">
      <dgm:prSet phldrT="[Text]" custScaleX="225602" custRadScaleRad="158894" custRadScaleInc="2450"/>
      <dgm:spPr/>
      <dgm:t>
        <a:bodyPr/>
        <a:lstStyle/>
        <a:p>
          <a:endParaRPr lang="ru-RU" dirty="0"/>
        </a:p>
      </dgm:t>
    </dgm:pt>
    <dgm:pt modelId="{ABB687E1-CE51-49AA-8E80-3F10FDE8743E}" type="parTrans" cxnId="{3192A215-8275-4CD7-9531-B0106F668981}">
      <dgm:prSet/>
      <dgm:spPr/>
      <dgm:t>
        <a:bodyPr/>
        <a:lstStyle/>
        <a:p>
          <a:endParaRPr lang="ru-RU"/>
        </a:p>
      </dgm:t>
    </dgm:pt>
    <dgm:pt modelId="{A207D391-AD9F-45A8-9376-02B6B10456DF}" type="sibTrans" cxnId="{3192A215-8275-4CD7-9531-B0106F668981}">
      <dgm:prSet/>
      <dgm:spPr/>
      <dgm:t>
        <a:bodyPr/>
        <a:lstStyle/>
        <a:p>
          <a:endParaRPr lang="ru-RU"/>
        </a:p>
      </dgm:t>
    </dgm:pt>
    <dgm:pt modelId="{25C3D416-A7AD-4F44-A78B-9DDD432B6542}">
      <dgm:prSet custT="1"/>
      <dgm:spPr/>
      <dgm:t>
        <a:bodyPr/>
        <a:lstStyle/>
        <a:p>
          <a:r>
            <a:rPr lang="ru-RU" sz="2000" dirty="0" smtClean="0"/>
            <a:t>Изменения почек</a:t>
          </a:r>
          <a:endParaRPr lang="ru-RU" sz="2000" dirty="0"/>
        </a:p>
      </dgm:t>
    </dgm:pt>
    <dgm:pt modelId="{582ECF32-5D75-4A3B-9F67-F4C29E307E44}" type="parTrans" cxnId="{DD11436E-661E-4F82-89DB-E33F0C495D93}">
      <dgm:prSet/>
      <dgm:spPr/>
      <dgm:t>
        <a:bodyPr/>
        <a:lstStyle/>
        <a:p>
          <a:endParaRPr lang="ru-RU"/>
        </a:p>
      </dgm:t>
    </dgm:pt>
    <dgm:pt modelId="{F1210919-C422-4CBF-BD85-2CCD853375D9}" type="sibTrans" cxnId="{DD11436E-661E-4F82-89DB-E33F0C495D93}">
      <dgm:prSet/>
      <dgm:spPr/>
      <dgm:t>
        <a:bodyPr/>
        <a:lstStyle/>
        <a:p>
          <a:endParaRPr lang="ru-RU"/>
        </a:p>
      </dgm:t>
    </dgm:pt>
    <dgm:pt modelId="{CC668320-8149-4AEF-ABD2-A00758EF1948}">
      <dgm:prSet custT="1"/>
      <dgm:spPr/>
      <dgm:t>
        <a:bodyPr/>
        <a:lstStyle/>
        <a:p>
          <a:r>
            <a:rPr lang="ru-RU" sz="2000" dirty="0" smtClean="0">
              <a:solidFill>
                <a:srgbClr val="FF0000"/>
              </a:solidFill>
            </a:rPr>
            <a:t>Анемия</a:t>
          </a:r>
          <a:endParaRPr lang="ru-RU" sz="2000" dirty="0">
            <a:solidFill>
              <a:srgbClr val="FF0000"/>
            </a:solidFill>
          </a:endParaRPr>
        </a:p>
      </dgm:t>
    </dgm:pt>
    <dgm:pt modelId="{59FF3191-7F07-464A-A5D2-57D6730BDAEA}" type="parTrans" cxnId="{E7756279-453C-47A4-9917-A4CAEC8B63DB}">
      <dgm:prSet/>
      <dgm:spPr/>
      <dgm:t>
        <a:bodyPr/>
        <a:lstStyle/>
        <a:p>
          <a:endParaRPr lang="ru-RU"/>
        </a:p>
      </dgm:t>
    </dgm:pt>
    <dgm:pt modelId="{61B4C6EA-0AF2-4772-9896-D4DA9F94729C}" type="sibTrans" cxnId="{E7756279-453C-47A4-9917-A4CAEC8B63DB}">
      <dgm:prSet/>
      <dgm:spPr/>
      <dgm:t>
        <a:bodyPr/>
        <a:lstStyle/>
        <a:p>
          <a:endParaRPr lang="ru-RU"/>
        </a:p>
      </dgm:t>
    </dgm:pt>
    <dgm:pt modelId="{65DA7827-A0CD-45FC-A916-0C7ACDC918F6}">
      <dgm:prSet custT="1"/>
      <dgm:spPr/>
      <dgm:t>
        <a:bodyPr/>
        <a:lstStyle/>
        <a:p>
          <a:r>
            <a:rPr lang="ru-RU" sz="2000" dirty="0" smtClean="0">
              <a:solidFill>
                <a:srgbClr val="FF0000"/>
              </a:solidFill>
            </a:rPr>
            <a:t>Синдром Шенлей-Геноха</a:t>
          </a:r>
          <a:endParaRPr lang="ru-RU" sz="2000" dirty="0">
            <a:solidFill>
              <a:srgbClr val="FF0000"/>
            </a:solidFill>
          </a:endParaRPr>
        </a:p>
      </dgm:t>
    </dgm:pt>
    <dgm:pt modelId="{7E2AE491-745E-40A1-B2F8-E0F804AD49EE}" type="parTrans" cxnId="{2610E179-1635-433B-838D-29C87E89F324}">
      <dgm:prSet/>
      <dgm:spPr/>
      <dgm:t>
        <a:bodyPr/>
        <a:lstStyle/>
        <a:p>
          <a:endParaRPr lang="ru-RU"/>
        </a:p>
      </dgm:t>
    </dgm:pt>
    <dgm:pt modelId="{3695E234-3F11-47F8-8958-CCF296988F1A}" type="sibTrans" cxnId="{2610E179-1635-433B-838D-29C87E89F324}">
      <dgm:prSet/>
      <dgm:spPr/>
      <dgm:t>
        <a:bodyPr/>
        <a:lstStyle/>
        <a:p>
          <a:endParaRPr lang="ru-RU"/>
        </a:p>
      </dgm:t>
    </dgm:pt>
    <dgm:pt modelId="{68F8F2FB-D409-4046-9D5F-26E1EA34AC48}">
      <dgm:prSet/>
      <dgm:spPr/>
      <dgm:t>
        <a:bodyPr/>
        <a:lstStyle/>
        <a:p>
          <a:endParaRPr lang="ru-RU"/>
        </a:p>
      </dgm:t>
    </dgm:pt>
    <dgm:pt modelId="{13F4A5AC-156D-4416-9E37-7B3B552DBA55}" type="parTrans" cxnId="{F0362A68-A4C6-416B-B4AA-6B40D38277B6}">
      <dgm:prSet/>
      <dgm:spPr/>
      <dgm:t>
        <a:bodyPr/>
        <a:lstStyle/>
        <a:p>
          <a:endParaRPr lang="ru-RU"/>
        </a:p>
      </dgm:t>
    </dgm:pt>
    <dgm:pt modelId="{7DA85242-3C68-409A-A724-85CDCEC78A3B}" type="sibTrans" cxnId="{F0362A68-A4C6-416B-B4AA-6B40D38277B6}">
      <dgm:prSet/>
      <dgm:spPr/>
      <dgm:t>
        <a:bodyPr/>
        <a:lstStyle/>
        <a:p>
          <a:endParaRPr lang="ru-RU"/>
        </a:p>
      </dgm:t>
    </dgm:pt>
    <dgm:pt modelId="{2BA85A63-B0EB-4F39-8464-D73032DA2EBD}" type="pres">
      <dgm:prSet presAssocID="{FBD7410F-231C-4F04-B050-E6E87493639B}" presName="Name0" presStyleCnt="0">
        <dgm:presLayoutVars>
          <dgm:chMax val="1"/>
          <dgm:dir/>
          <dgm:animLvl val="ctr"/>
          <dgm:resizeHandles val="exact"/>
        </dgm:presLayoutVars>
      </dgm:prSet>
      <dgm:spPr/>
      <dgm:t>
        <a:bodyPr/>
        <a:lstStyle/>
        <a:p>
          <a:endParaRPr lang="ru-RU"/>
        </a:p>
      </dgm:t>
    </dgm:pt>
    <dgm:pt modelId="{054C0456-7A33-4BC0-B489-8A07255A375B}" type="pres">
      <dgm:prSet presAssocID="{33CA2CE5-8241-4F1F-A40A-DDDE0EA74773}" presName="centerShape" presStyleLbl="node0" presStyleIdx="0" presStyleCnt="1" custScaleX="100474" custScaleY="98219" custLinFactNeighborX="1679" custLinFactNeighborY="135"/>
      <dgm:spPr/>
      <dgm:t>
        <a:bodyPr/>
        <a:lstStyle/>
        <a:p>
          <a:endParaRPr lang="ru-RU"/>
        </a:p>
      </dgm:t>
    </dgm:pt>
    <dgm:pt modelId="{CA2DF19F-88E2-404A-890A-B8AEF5976498}" type="pres">
      <dgm:prSet presAssocID="{49ED75C4-3057-4110-ADE4-8B6930330847}" presName="parTrans" presStyleLbl="sibTrans2D1" presStyleIdx="0" presStyleCnt="7"/>
      <dgm:spPr/>
      <dgm:t>
        <a:bodyPr/>
        <a:lstStyle/>
        <a:p>
          <a:endParaRPr lang="ru-RU"/>
        </a:p>
      </dgm:t>
    </dgm:pt>
    <dgm:pt modelId="{810C1A27-9AF1-40A4-82CD-FCBDE1C3DB70}" type="pres">
      <dgm:prSet presAssocID="{49ED75C4-3057-4110-ADE4-8B6930330847}" presName="connectorText" presStyleLbl="sibTrans2D1" presStyleIdx="0" presStyleCnt="7"/>
      <dgm:spPr/>
      <dgm:t>
        <a:bodyPr/>
        <a:lstStyle/>
        <a:p>
          <a:endParaRPr lang="ru-RU"/>
        </a:p>
      </dgm:t>
    </dgm:pt>
    <dgm:pt modelId="{BA43DBC2-75F5-4599-9D37-70AF8B24E2E1}" type="pres">
      <dgm:prSet presAssocID="{16281331-B525-4F51-8BF5-0FE982C874D8}" presName="node" presStyleLbl="node1" presStyleIdx="0" presStyleCnt="7" custScaleX="174288" custScaleY="51546">
        <dgm:presLayoutVars>
          <dgm:bulletEnabled val="1"/>
        </dgm:presLayoutVars>
      </dgm:prSet>
      <dgm:spPr/>
      <dgm:t>
        <a:bodyPr/>
        <a:lstStyle/>
        <a:p>
          <a:endParaRPr lang="ru-RU"/>
        </a:p>
      </dgm:t>
    </dgm:pt>
    <dgm:pt modelId="{D62EE373-CE59-4E6A-98A7-C73484520335}" type="pres">
      <dgm:prSet presAssocID="{EC9299CB-342B-494A-8476-788FA0D7A57B}" presName="parTrans" presStyleLbl="sibTrans2D1" presStyleIdx="1" presStyleCnt="7"/>
      <dgm:spPr/>
      <dgm:t>
        <a:bodyPr/>
        <a:lstStyle/>
        <a:p>
          <a:endParaRPr lang="ru-RU"/>
        </a:p>
      </dgm:t>
    </dgm:pt>
    <dgm:pt modelId="{9ADF4C28-E162-4C77-BBE7-3165BE0D5328}" type="pres">
      <dgm:prSet presAssocID="{EC9299CB-342B-494A-8476-788FA0D7A57B}" presName="connectorText" presStyleLbl="sibTrans2D1" presStyleIdx="1" presStyleCnt="7"/>
      <dgm:spPr/>
      <dgm:t>
        <a:bodyPr/>
        <a:lstStyle/>
        <a:p>
          <a:endParaRPr lang="ru-RU"/>
        </a:p>
      </dgm:t>
    </dgm:pt>
    <dgm:pt modelId="{EE2B3BB0-8689-448B-8551-8D3762661738}" type="pres">
      <dgm:prSet presAssocID="{EFBD2A79-6638-407C-9194-C3A0F5A4D864}" presName="node" presStyleLbl="node1" presStyleIdx="1" presStyleCnt="7" custScaleX="209065" custScaleY="64423" custRadScaleRad="150706" custRadScaleInc="30958">
        <dgm:presLayoutVars>
          <dgm:bulletEnabled val="1"/>
        </dgm:presLayoutVars>
      </dgm:prSet>
      <dgm:spPr/>
      <dgm:t>
        <a:bodyPr/>
        <a:lstStyle/>
        <a:p>
          <a:endParaRPr lang="ru-RU"/>
        </a:p>
      </dgm:t>
    </dgm:pt>
    <dgm:pt modelId="{D3321F32-76BD-4E42-AB61-667D8F90CC96}" type="pres">
      <dgm:prSet presAssocID="{582ECF32-5D75-4A3B-9F67-F4C29E307E44}" presName="parTrans" presStyleLbl="sibTrans2D1" presStyleIdx="2" presStyleCnt="7"/>
      <dgm:spPr/>
      <dgm:t>
        <a:bodyPr/>
        <a:lstStyle/>
        <a:p>
          <a:endParaRPr lang="ru-RU"/>
        </a:p>
      </dgm:t>
    </dgm:pt>
    <dgm:pt modelId="{36376931-9967-4A17-99DB-9DF8E244D525}" type="pres">
      <dgm:prSet presAssocID="{582ECF32-5D75-4A3B-9F67-F4C29E307E44}" presName="connectorText" presStyleLbl="sibTrans2D1" presStyleIdx="2" presStyleCnt="7"/>
      <dgm:spPr/>
      <dgm:t>
        <a:bodyPr/>
        <a:lstStyle/>
        <a:p>
          <a:endParaRPr lang="ru-RU"/>
        </a:p>
      </dgm:t>
    </dgm:pt>
    <dgm:pt modelId="{500EEE96-F706-48EC-85D9-661ABDDBE94E}" type="pres">
      <dgm:prSet presAssocID="{25C3D416-A7AD-4F44-A78B-9DDD432B6542}" presName="node" presStyleLbl="node1" presStyleIdx="2" presStyleCnt="7" custScaleX="193182" custScaleY="80132" custRadScaleRad="136721" custRadScaleInc="-71385">
        <dgm:presLayoutVars>
          <dgm:bulletEnabled val="1"/>
        </dgm:presLayoutVars>
      </dgm:prSet>
      <dgm:spPr/>
      <dgm:t>
        <a:bodyPr/>
        <a:lstStyle/>
        <a:p>
          <a:endParaRPr lang="ru-RU"/>
        </a:p>
      </dgm:t>
    </dgm:pt>
    <dgm:pt modelId="{F4A05156-00F5-42F8-AE65-95D5BFA4A9BB}" type="pres">
      <dgm:prSet presAssocID="{7E2AE491-745E-40A1-B2F8-E0F804AD49EE}" presName="parTrans" presStyleLbl="sibTrans2D1" presStyleIdx="3" presStyleCnt="7"/>
      <dgm:spPr/>
      <dgm:t>
        <a:bodyPr/>
        <a:lstStyle/>
        <a:p>
          <a:endParaRPr lang="ru-RU"/>
        </a:p>
      </dgm:t>
    </dgm:pt>
    <dgm:pt modelId="{8A03C6D5-09DC-4F42-A5DF-EFBAC5C89982}" type="pres">
      <dgm:prSet presAssocID="{7E2AE491-745E-40A1-B2F8-E0F804AD49EE}" presName="connectorText" presStyleLbl="sibTrans2D1" presStyleIdx="3" presStyleCnt="7"/>
      <dgm:spPr/>
      <dgm:t>
        <a:bodyPr/>
        <a:lstStyle/>
        <a:p>
          <a:endParaRPr lang="ru-RU"/>
        </a:p>
      </dgm:t>
    </dgm:pt>
    <dgm:pt modelId="{6F588DB4-70B2-4BF3-86F4-23084F199631}" type="pres">
      <dgm:prSet presAssocID="{65DA7827-A0CD-45FC-A916-0C7ACDC918F6}" presName="node" presStyleLbl="node1" presStyleIdx="3" presStyleCnt="7" custScaleX="151185" custScaleY="63562" custRadScaleRad="134749" custRadScaleInc="-189937">
        <dgm:presLayoutVars>
          <dgm:bulletEnabled val="1"/>
        </dgm:presLayoutVars>
      </dgm:prSet>
      <dgm:spPr/>
      <dgm:t>
        <a:bodyPr/>
        <a:lstStyle/>
        <a:p>
          <a:endParaRPr lang="ru-RU"/>
        </a:p>
      </dgm:t>
    </dgm:pt>
    <dgm:pt modelId="{C763957A-50BB-49FA-8294-BDA0C19A8D5C}" type="pres">
      <dgm:prSet presAssocID="{6FE64B9E-D467-4105-A016-F6CBF3F996DB}" presName="parTrans" presStyleLbl="sibTrans2D1" presStyleIdx="4" presStyleCnt="7"/>
      <dgm:spPr/>
      <dgm:t>
        <a:bodyPr/>
        <a:lstStyle/>
        <a:p>
          <a:endParaRPr lang="ru-RU"/>
        </a:p>
      </dgm:t>
    </dgm:pt>
    <dgm:pt modelId="{65ABFA7C-222B-4C83-B588-EFAA6635F960}" type="pres">
      <dgm:prSet presAssocID="{6FE64B9E-D467-4105-A016-F6CBF3F996DB}" presName="connectorText" presStyleLbl="sibTrans2D1" presStyleIdx="4" presStyleCnt="7"/>
      <dgm:spPr/>
      <dgm:t>
        <a:bodyPr/>
        <a:lstStyle/>
        <a:p>
          <a:endParaRPr lang="ru-RU"/>
        </a:p>
      </dgm:t>
    </dgm:pt>
    <dgm:pt modelId="{11B62238-42C2-41A0-A421-7D54C573EF59}" type="pres">
      <dgm:prSet presAssocID="{853C8231-97DE-429D-9B7D-048AEA01ACC8}" presName="node" presStyleLbl="node1" presStyleIdx="4" presStyleCnt="7" custScaleX="207424" custScaleY="76029" custRadScaleRad="134856" custRadScaleInc="201762">
        <dgm:presLayoutVars>
          <dgm:bulletEnabled val="1"/>
        </dgm:presLayoutVars>
      </dgm:prSet>
      <dgm:spPr/>
      <dgm:t>
        <a:bodyPr/>
        <a:lstStyle/>
        <a:p>
          <a:endParaRPr lang="ru-RU"/>
        </a:p>
      </dgm:t>
    </dgm:pt>
    <dgm:pt modelId="{2FCFF96F-8A09-4EDC-B2BD-DCB87D39C614}" type="pres">
      <dgm:prSet presAssocID="{2C3011BD-EAB3-4E0F-91EB-BD6D56DCABAF}" presName="parTrans" presStyleLbl="sibTrans2D1" presStyleIdx="5" presStyleCnt="7"/>
      <dgm:spPr/>
      <dgm:t>
        <a:bodyPr/>
        <a:lstStyle/>
        <a:p>
          <a:endParaRPr lang="ru-RU"/>
        </a:p>
      </dgm:t>
    </dgm:pt>
    <dgm:pt modelId="{CEBC4E3C-7E67-4499-BD7F-6C410CAC6BF9}" type="pres">
      <dgm:prSet presAssocID="{2C3011BD-EAB3-4E0F-91EB-BD6D56DCABAF}" presName="connectorText" presStyleLbl="sibTrans2D1" presStyleIdx="5" presStyleCnt="7"/>
      <dgm:spPr/>
      <dgm:t>
        <a:bodyPr/>
        <a:lstStyle/>
        <a:p>
          <a:endParaRPr lang="ru-RU"/>
        </a:p>
      </dgm:t>
    </dgm:pt>
    <dgm:pt modelId="{C4575EDD-E0AC-498D-AB30-EADBC1260C99}" type="pres">
      <dgm:prSet presAssocID="{FB495F86-2638-463C-B85C-159852E4B59B}" presName="node" presStyleLbl="node1" presStyleIdx="5" presStyleCnt="7" custScaleX="218463" custScaleY="64120" custRadScaleRad="137640" custRadScaleInc="86312">
        <dgm:presLayoutVars>
          <dgm:bulletEnabled val="1"/>
        </dgm:presLayoutVars>
      </dgm:prSet>
      <dgm:spPr/>
      <dgm:t>
        <a:bodyPr/>
        <a:lstStyle/>
        <a:p>
          <a:endParaRPr lang="ru-RU"/>
        </a:p>
      </dgm:t>
    </dgm:pt>
    <dgm:pt modelId="{492A6AE2-58BE-4A18-ADE3-6DC3315D898F}" type="pres">
      <dgm:prSet presAssocID="{59FF3191-7F07-464A-A5D2-57D6730BDAEA}" presName="parTrans" presStyleLbl="sibTrans2D1" presStyleIdx="6" presStyleCnt="7"/>
      <dgm:spPr/>
      <dgm:t>
        <a:bodyPr/>
        <a:lstStyle/>
        <a:p>
          <a:endParaRPr lang="ru-RU"/>
        </a:p>
      </dgm:t>
    </dgm:pt>
    <dgm:pt modelId="{009B52E6-3FC6-48A7-94BE-A1B16CD291DC}" type="pres">
      <dgm:prSet presAssocID="{59FF3191-7F07-464A-A5D2-57D6730BDAEA}" presName="connectorText" presStyleLbl="sibTrans2D1" presStyleIdx="6" presStyleCnt="7"/>
      <dgm:spPr/>
      <dgm:t>
        <a:bodyPr/>
        <a:lstStyle/>
        <a:p>
          <a:endParaRPr lang="ru-RU"/>
        </a:p>
      </dgm:t>
    </dgm:pt>
    <dgm:pt modelId="{B0D77B0E-AD4F-4A97-B713-AB8AC4C66AC3}" type="pres">
      <dgm:prSet presAssocID="{CC668320-8149-4AEF-ABD2-A00758EF1948}" presName="node" presStyleLbl="node1" presStyleIdx="6" presStyleCnt="7" custScaleX="163367" custScaleY="49907" custRadScaleRad="152144" custRadScaleInc="-30598">
        <dgm:presLayoutVars>
          <dgm:bulletEnabled val="1"/>
        </dgm:presLayoutVars>
      </dgm:prSet>
      <dgm:spPr/>
      <dgm:t>
        <a:bodyPr/>
        <a:lstStyle/>
        <a:p>
          <a:endParaRPr lang="ru-RU"/>
        </a:p>
      </dgm:t>
    </dgm:pt>
  </dgm:ptLst>
  <dgm:cxnLst>
    <dgm:cxn modelId="{10539DA7-D221-45BD-B943-E65598CDE1B4}" type="presOf" srcId="{FB495F86-2638-463C-B85C-159852E4B59B}" destId="{C4575EDD-E0AC-498D-AB30-EADBC1260C99}" srcOrd="0" destOrd="0" presId="urn:microsoft.com/office/officeart/2005/8/layout/radial5"/>
    <dgm:cxn modelId="{42A9462A-EEEE-4656-88CA-FD9F96944A98}" type="presOf" srcId="{6FE64B9E-D467-4105-A016-F6CBF3F996DB}" destId="{C763957A-50BB-49FA-8294-BDA0C19A8D5C}" srcOrd="0" destOrd="0" presId="urn:microsoft.com/office/officeart/2005/8/layout/radial5"/>
    <dgm:cxn modelId="{216EEF7B-EBCA-4FC6-A111-04539474BD36}" type="presOf" srcId="{59FF3191-7F07-464A-A5D2-57D6730BDAEA}" destId="{009B52E6-3FC6-48A7-94BE-A1B16CD291DC}" srcOrd="1" destOrd="0" presId="urn:microsoft.com/office/officeart/2005/8/layout/radial5"/>
    <dgm:cxn modelId="{B1C56310-84C2-44AB-B347-608F5CA77FCA}" type="presOf" srcId="{25C3D416-A7AD-4F44-A78B-9DDD432B6542}" destId="{500EEE96-F706-48EC-85D9-661ABDDBE94E}" srcOrd="0" destOrd="0" presId="urn:microsoft.com/office/officeart/2005/8/layout/radial5"/>
    <dgm:cxn modelId="{BC402901-0518-49C6-BC8E-70EB342474FA}" type="presOf" srcId="{582ECF32-5D75-4A3B-9F67-F4C29E307E44}" destId="{D3321F32-76BD-4E42-AB61-667D8F90CC96}" srcOrd="0" destOrd="0" presId="urn:microsoft.com/office/officeart/2005/8/layout/radial5"/>
    <dgm:cxn modelId="{8C9DF726-5FED-4919-A355-74F6D9CF1678}" type="presOf" srcId="{49ED75C4-3057-4110-ADE4-8B6930330847}" destId="{810C1A27-9AF1-40A4-82CD-FCBDE1C3DB70}" srcOrd="1" destOrd="0" presId="urn:microsoft.com/office/officeart/2005/8/layout/radial5"/>
    <dgm:cxn modelId="{5068FAD9-A7BC-403C-9CEC-0C40434EA31A}" type="presOf" srcId="{2C3011BD-EAB3-4E0F-91EB-BD6D56DCABAF}" destId="{2FCFF96F-8A09-4EDC-B2BD-DCB87D39C614}" srcOrd="0" destOrd="0" presId="urn:microsoft.com/office/officeart/2005/8/layout/radial5"/>
    <dgm:cxn modelId="{56871F24-4F70-41A9-8283-6E3CEF1828C4}" type="presOf" srcId="{65DA7827-A0CD-45FC-A916-0C7ACDC918F6}" destId="{6F588DB4-70B2-4BF3-86F4-23084F199631}" srcOrd="0" destOrd="0" presId="urn:microsoft.com/office/officeart/2005/8/layout/radial5"/>
    <dgm:cxn modelId="{F0362A68-A4C6-416B-B4AA-6B40D38277B6}" srcId="{FBD7410F-231C-4F04-B050-E6E87493639B}" destId="{68F8F2FB-D409-4046-9D5F-26E1EA34AC48}" srcOrd="2" destOrd="0" parTransId="{13F4A5AC-156D-4416-9E37-7B3B552DBA55}" sibTransId="{7DA85242-3C68-409A-A724-85CDCEC78A3B}"/>
    <dgm:cxn modelId="{8EC3B944-1B6C-4943-A2B1-6F0C491B9E86}" srcId="{33CA2CE5-8241-4F1F-A40A-DDDE0EA74773}" destId="{16281331-B525-4F51-8BF5-0FE982C874D8}" srcOrd="0" destOrd="0" parTransId="{49ED75C4-3057-4110-ADE4-8B6930330847}" sibTransId="{FAE8A639-1E73-4EB7-B753-DE704811FB55}"/>
    <dgm:cxn modelId="{582C42FC-71DC-4CE7-A85D-18ADC6BA3A92}" type="presOf" srcId="{16281331-B525-4F51-8BF5-0FE982C874D8}" destId="{BA43DBC2-75F5-4599-9D37-70AF8B24E2E1}" srcOrd="0" destOrd="0" presId="urn:microsoft.com/office/officeart/2005/8/layout/radial5"/>
    <dgm:cxn modelId="{DD11436E-661E-4F82-89DB-E33F0C495D93}" srcId="{33CA2CE5-8241-4F1F-A40A-DDDE0EA74773}" destId="{25C3D416-A7AD-4F44-A78B-9DDD432B6542}" srcOrd="2" destOrd="0" parTransId="{582ECF32-5D75-4A3B-9F67-F4C29E307E44}" sibTransId="{F1210919-C422-4CBF-BD85-2CCD853375D9}"/>
    <dgm:cxn modelId="{4AC46DBC-FB46-4D0B-90B8-B21B370E6192}" type="presOf" srcId="{49ED75C4-3057-4110-ADE4-8B6930330847}" destId="{CA2DF19F-88E2-404A-890A-B8AEF5976498}" srcOrd="0" destOrd="0" presId="urn:microsoft.com/office/officeart/2005/8/layout/radial5"/>
    <dgm:cxn modelId="{EFDE73E2-9A91-4505-AAC4-6EB209601AD9}" srcId="{33CA2CE5-8241-4F1F-A40A-DDDE0EA74773}" destId="{FB495F86-2638-463C-B85C-159852E4B59B}" srcOrd="5" destOrd="0" parTransId="{2C3011BD-EAB3-4E0F-91EB-BD6D56DCABAF}" sibTransId="{71F2654D-9977-49C9-A87A-EA5BDC67469D}"/>
    <dgm:cxn modelId="{3192A215-8275-4CD7-9531-B0106F668981}" srcId="{FBD7410F-231C-4F04-B050-E6E87493639B}" destId="{1B300730-9F25-408D-AD59-3E4335ADD59C}" srcOrd="1" destOrd="0" parTransId="{ABB687E1-CE51-49AA-8E80-3F10FDE8743E}" sibTransId="{A207D391-AD9F-45A8-9376-02B6B10456DF}"/>
    <dgm:cxn modelId="{409C248E-8D91-42AA-BD9E-0C62DF67BD7D}" type="presOf" srcId="{6FE64B9E-D467-4105-A016-F6CBF3F996DB}" destId="{65ABFA7C-222B-4C83-B588-EFAA6635F960}" srcOrd="1" destOrd="0" presId="urn:microsoft.com/office/officeart/2005/8/layout/radial5"/>
    <dgm:cxn modelId="{758E00DD-6EC3-475C-AA7C-F3537813ABE3}" srcId="{33CA2CE5-8241-4F1F-A40A-DDDE0EA74773}" destId="{853C8231-97DE-429D-9B7D-048AEA01ACC8}" srcOrd="4" destOrd="0" parTransId="{6FE64B9E-D467-4105-A016-F6CBF3F996DB}" sibTransId="{3F4862AE-9659-4A24-AD12-EEF434E4D0F1}"/>
    <dgm:cxn modelId="{D2BED508-3BBB-4339-9F50-ED6E48C15BC5}" type="presOf" srcId="{EFBD2A79-6638-407C-9194-C3A0F5A4D864}" destId="{EE2B3BB0-8689-448B-8551-8D3762661738}" srcOrd="0" destOrd="0" presId="urn:microsoft.com/office/officeart/2005/8/layout/radial5"/>
    <dgm:cxn modelId="{2610E179-1635-433B-838D-29C87E89F324}" srcId="{33CA2CE5-8241-4F1F-A40A-DDDE0EA74773}" destId="{65DA7827-A0CD-45FC-A916-0C7ACDC918F6}" srcOrd="3" destOrd="0" parTransId="{7E2AE491-745E-40A1-B2F8-E0F804AD49EE}" sibTransId="{3695E234-3F11-47F8-8958-CCF296988F1A}"/>
    <dgm:cxn modelId="{E7756279-453C-47A4-9917-A4CAEC8B63DB}" srcId="{33CA2CE5-8241-4F1F-A40A-DDDE0EA74773}" destId="{CC668320-8149-4AEF-ABD2-A00758EF1948}" srcOrd="6" destOrd="0" parTransId="{59FF3191-7F07-464A-A5D2-57D6730BDAEA}" sibTransId="{61B4C6EA-0AF2-4772-9896-D4DA9F94729C}"/>
    <dgm:cxn modelId="{7356B1D0-F626-45DB-98F4-BD8F39A4E184}" type="presOf" srcId="{853C8231-97DE-429D-9B7D-048AEA01ACC8}" destId="{11B62238-42C2-41A0-A421-7D54C573EF59}" srcOrd="0" destOrd="0" presId="urn:microsoft.com/office/officeart/2005/8/layout/radial5"/>
    <dgm:cxn modelId="{D6DD1392-BAC9-4444-937C-6216AF9C5796}" type="presOf" srcId="{CC668320-8149-4AEF-ABD2-A00758EF1948}" destId="{B0D77B0E-AD4F-4A97-B713-AB8AC4C66AC3}" srcOrd="0" destOrd="0" presId="urn:microsoft.com/office/officeart/2005/8/layout/radial5"/>
    <dgm:cxn modelId="{0B0FC084-E06F-406F-B89E-962E47E3A539}" type="presOf" srcId="{EC9299CB-342B-494A-8476-788FA0D7A57B}" destId="{D62EE373-CE59-4E6A-98A7-C73484520335}" srcOrd="0" destOrd="0" presId="urn:microsoft.com/office/officeart/2005/8/layout/radial5"/>
    <dgm:cxn modelId="{A2F0E880-21EA-42A8-B8B6-54D0D0D5F5FB}" type="presOf" srcId="{33CA2CE5-8241-4F1F-A40A-DDDE0EA74773}" destId="{054C0456-7A33-4BC0-B489-8A07255A375B}" srcOrd="0" destOrd="0" presId="urn:microsoft.com/office/officeart/2005/8/layout/radial5"/>
    <dgm:cxn modelId="{2CFF36A8-D205-4E81-BFDC-983D62AC383A}" type="presOf" srcId="{7E2AE491-745E-40A1-B2F8-E0F804AD49EE}" destId="{8A03C6D5-09DC-4F42-A5DF-EFBAC5C89982}" srcOrd="1" destOrd="0" presId="urn:microsoft.com/office/officeart/2005/8/layout/radial5"/>
    <dgm:cxn modelId="{243A75DC-5F84-44D2-B1BD-5AC0D26CC1B1}" type="presOf" srcId="{EC9299CB-342B-494A-8476-788FA0D7A57B}" destId="{9ADF4C28-E162-4C77-BBE7-3165BE0D5328}" srcOrd="1" destOrd="0" presId="urn:microsoft.com/office/officeart/2005/8/layout/radial5"/>
    <dgm:cxn modelId="{CBF2AA3C-5D47-4815-A407-CB1A31EF4DBB}" type="presOf" srcId="{59FF3191-7F07-464A-A5D2-57D6730BDAEA}" destId="{492A6AE2-58BE-4A18-ADE3-6DC3315D898F}" srcOrd="0" destOrd="0" presId="urn:microsoft.com/office/officeart/2005/8/layout/radial5"/>
    <dgm:cxn modelId="{FA32B46B-6A16-4ED6-933C-7166BD8D889F}" type="presOf" srcId="{582ECF32-5D75-4A3B-9F67-F4C29E307E44}" destId="{36376931-9967-4A17-99DB-9DF8E244D525}" srcOrd="1" destOrd="0" presId="urn:microsoft.com/office/officeart/2005/8/layout/radial5"/>
    <dgm:cxn modelId="{88D41DE8-1606-4024-B45B-C5BBDDCF80D9}" srcId="{FBD7410F-231C-4F04-B050-E6E87493639B}" destId="{33CA2CE5-8241-4F1F-A40A-DDDE0EA74773}" srcOrd="0" destOrd="0" parTransId="{185EBB8E-566C-41EB-A347-0E6C110CF05B}" sibTransId="{A1357B34-B44E-4730-968A-1E2802B58404}"/>
    <dgm:cxn modelId="{3214CD05-EC14-4065-BB6B-C30137A76ECF}" type="presOf" srcId="{FBD7410F-231C-4F04-B050-E6E87493639B}" destId="{2BA85A63-B0EB-4F39-8464-D73032DA2EBD}" srcOrd="0" destOrd="0" presId="urn:microsoft.com/office/officeart/2005/8/layout/radial5"/>
    <dgm:cxn modelId="{689511A8-0467-4610-AFD9-0D306446BD28}" type="presOf" srcId="{2C3011BD-EAB3-4E0F-91EB-BD6D56DCABAF}" destId="{CEBC4E3C-7E67-4499-BD7F-6C410CAC6BF9}" srcOrd="1" destOrd="0" presId="urn:microsoft.com/office/officeart/2005/8/layout/radial5"/>
    <dgm:cxn modelId="{A1D8A944-3CA5-4FE4-B33B-314CF58319F1}" srcId="{33CA2CE5-8241-4F1F-A40A-DDDE0EA74773}" destId="{EFBD2A79-6638-407C-9194-C3A0F5A4D864}" srcOrd="1" destOrd="0" parTransId="{EC9299CB-342B-494A-8476-788FA0D7A57B}" sibTransId="{BE3065B6-1625-4C84-A429-08500C041B96}"/>
    <dgm:cxn modelId="{C03FA834-D300-432C-98BF-73D7D0CF1C9B}" type="presOf" srcId="{7E2AE491-745E-40A1-B2F8-E0F804AD49EE}" destId="{F4A05156-00F5-42F8-AE65-95D5BFA4A9BB}" srcOrd="0" destOrd="0" presId="urn:microsoft.com/office/officeart/2005/8/layout/radial5"/>
    <dgm:cxn modelId="{3B8E8A26-8C1E-4BAC-95D8-FCABE22358E0}" type="presParOf" srcId="{2BA85A63-B0EB-4F39-8464-D73032DA2EBD}" destId="{054C0456-7A33-4BC0-B489-8A07255A375B}" srcOrd="0" destOrd="0" presId="urn:microsoft.com/office/officeart/2005/8/layout/radial5"/>
    <dgm:cxn modelId="{20A40569-7E35-49E7-B50F-8C64C8A3ACA2}" type="presParOf" srcId="{2BA85A63-B0EB-4F39-8464-D73032DA2EBD}" destId="{CA2DF19F-88E2-404A-890A-B8AEF5976498}" srcOrd="1" destOrd="0" presId="urn:microsoft.com/office/officeart/2005/8/layout/radial5"/>
    <dgm:cxn modelId="{652D194E-7705-49F2-8ABA-A30D8B57C43C}" type="presParOf" srcId="{CA2DF19F-88E2-404A-890A-B8AEF5976498}" destId="{810C1A27-9AF1-40A4-82CD-FCBDE1C3DB70}" srcOrd="0" destOrd="0" presId="urn:microsoft.com/office/officeart/2005/8/layout/radial5"/>
    <dgm:cxn modelId="{D8CFFA10-E055-41AC-A4CA-3D63423D4D64}" type="presParOf" srcId="{2BA85A63-B0EB-4F39-8464-D73032DA2EBD}" destId="{BA43DBC2-75F5-4599-9D37-70AF8B24E2E1}" srcOrd="2" destOrd="0" presId="urn:microsoft.com/office/officeart/2005/8/layout/radial5"/>
    <dgm:cxn modelId="{4104A4BC-D8B6-4100-98DA-59CAA5591F34}" type="presParOf" srcId="{2BA85A63-B0EB-4F39-8464-D73032DA2EBD}" destId="{D62EE373-CE59-4E6A-98A7-C73484520335}" srcOrd="3" destOrd="0" presId="urn:microsoft.com/office/officeart/2005/8/layout/radial5"/>
    <dgm:cxn modelId="{6E692BBA-4CA4-4219-A533-9CAA9F9F2D01}" type="presParOf" srcId="{D62EE373-CE59-4E6A-98A7-C73484520335}" destId="{9ADF4C28-E162-4C77-BBE7-3165BE0D5328}" srcOrd="0" destOrd="0" presId="urn:microsoft.com/office/officeart/2005/8/layout/radial5"/>
    <dgm:cxn modelId="{408A72A7-511F-4384-A0DD-03429B343C21}" type="presParOf" srcId="{2BA85A63-B0EB-4F39-8464-D73032DA2EBD}" destId="{EE2B3BB0-8689-448B-8551-8D3762661738}" srcOrd="4" destOrd="0" presId="urn:microsoft.com/office/officeart/2005/8/layout/radial5"/>
    <dgm:cxn modelId="{2BDAA82C-DB67-4E91-B2B5-588A1BBF4320}" type="presParOf" srcId="{2BA85A63-B0EB-4F39-8464-D73032DA2EBD}" destId="{D3321F32-76BD-4E42-AB61-667D8F90CC96}" srcOrd="5" destOrd="0" presId="urn:microsoft.com/office/officeart/2005/8/layout/radial5"/>
    <dgm:cxn modelId="{9BD84C88-466D-412C-A693-5028CE9825D2}" type="presParOf" srcId="{D3321F32-76BD-4E42-AB61-667D8F90CC96}" destId="{36376931-9967-4A17-99DB-9DF8E244D525}" srcOrd="0" destOrd="0" presId="urn:microsoft.com/office/officeart/2005/8/layout/radial5"/>
    <dgm:cxn modelId="{895F2A5E-4F1F-43AA-A372-D80795035C2F}" type="presParOf" srcId="{2BA85A63-B0EB-4F39-8464-D73032DA2EBD}" destId="{500EEE96-F706-48EC-85D9-661ABDDBE94E}" srcOrd="6" destOrd="0" presId="urn:microsoft.com/office/officeart/2005/8/layout/radial5"/>
    <dgm:cxn modelId="{4E99335A-69DE-482E-AABE-8EF978A2042C}" type="presParOf" srcId="{2BA85A63-B0EB-4F39-8464-D73032DA2EBD}" destId="{F4A05156-00F5-42F8-AE65-95D5BFA4A9BB}" srcOrd="7" destOrd="0" presId="urn:microsoft.com/office/officeart/2005/8/layout/radial5"/>
    <dgm:cxn modelId="{4E67E465-69CE-4F36-9007-AF199045CCED}" type="presParOf" srcId="{F4A05156-00F5-42F8-AE65-95D5BFA4A9BB}" destId="{8A03C6D5-09DC-4F42-A5DF-EFBAC5C89982}" srcOrd="0" destOrd="0" presId="urn:microsoft.com/office/officeart/2005/8/layout/radial5"/>
    <dgm:cxn modelId="{41894661-C812-4E9B-8531-7FB915772653}" type="presParOf" srcId="{2BA85A63-B0EB-4F39-8464-D73032DA2EBD}" destId="{6F588DB4-70B2-4BF3-86F4-23084F199631}" srcOrd="8" destOrd="0" presId="urn:microsoft.com/office/officeart/2005/8/layout/radial5"/>
    <dgm:cxn modelId="{93388B1C-1844-4DD3-8A03-0A2FDE2FFF59}" type="presParOf" srcId="{2BA85A63-B0EB-4F39-8464-D73032DA2EBD}" destId="{C763957A-50BB-49FA-8294-BDA0C19A8D5C}" srcOrd="9" destOrd="0" presId="urn:microsoft.com/office/officeart/2005/8/layout/radial5"/>
    <dgm:cxn modelId="{FCB6F180-BC60-46C4-AF0B-BD4B821FD2F9}" type="presParOf" srcId="{C763957A-50BB-49FA-8294-BDA0C19A8D5C}" destId="{65ABFA7C-222B-4C83-B588-EFAA6635F960}" srcOrd="0" destOrd="0" presId="urn:microsoft.com/office/officeart/2005/8/layout/radial5"/>
    <dgm:cxn modelId="{E16316D8-1FBB-4E86-B51B-7A0D5E780A14}" type="presParOf" srcId="{2BA85A63-B0EB-4F39-8464-D73032DA2EBD}" destId="{11B62238-42C2-41A0-A421-7D54C573EF59}" srcOrd="10" destOrd="0" presId="urn:microsoft.com/office/officeart/2005/8/layout/radial5"/>
    <dgm:cxn modelId="{AAD202C9-784D-4370-BF0C-2686AE90A1F1}" type="presParOf" srcId="{2BA85A63-B0EB-4F39-8464-D73032DA2EBD}" destId="{2FCFF96F-8A09-4EDC-B2BD-DCB87D39C614}" srcOrd="11" destOrd="0" presId="urn:microsoft.com/office/officeart/2005/8/layout/radial5"/>
    <dgm:cxn modelId="{F063F7FC-205B-4E11-B0DD-9D808CB51E91}" type="presParOf" srcId="{2FCFF96F-8A09-4EDC-B2BD-DCB87D39C614}" destId="{CEBC4E3C-7E67-4499-BD7F-6C410CAC6BF9}" srcOrd="0" destOrd="0" presId="urn:microsoft.com/office/officeart/2005/8/layout/radial5"/>
    <dgm:cxn modelId="{F64ABE1D-2581-42B8-A882-B01D4E9BBCA0}" type="presParOf" srcId="{2BA85A63-B0EB-4F39-8464-D73032DA2EBD}" destId="{C4575EDD-E0AC-498D-AB30-EADBC1260C99}" srcOrd="12" destOrd="0" presId="urn:microsoft.com/office/officeart/2005/8/layout/radial5"/>
    <dgm:cxn modelId="{ADAC03E3-6AF4-4371-9FFB-068F8482A5CF}" type="presParOf" srcId="{2BA85A63-B0EB-4F39-8464-D73032DA2EBD}" destId="{492A6AE2-58BE-4A18-ADE3-6DC3315D898F}" srcOrd="13" destOrd="0" presId="urn:microsoft.com/office/officeart/2005/8/layout/radial5"/>
    <dgm:cxn modelId="{6A71804A-BE6A-4805-88A9-459AC2062862}" type="presParOf" srcId="{492A6AE2-58BE-4A18-ADE3-6DC3315D898F}" destId="{009B52E6-3FC6-48A7-94BE-A1B16CD291DC}" srcOrd="0" destOrd="0" presId="urn:microsoft.com/office/officeart/2005/8/layout/radial5"/>
    <dgm:cxn modelId="{3B8A4FCF-A9E5-4B2D-B5C8-376C449D71D6}" type="presParOf" srcId="{2BA85A63-B0EB-4F39-8464-D73032DA2EBD}" destId="{B0D77B0E-AD4F-4A97-B713-AB8AC4C66AC3}" srcOrd="14"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4C0456-7A33-4BC0-B489-8A07255A375B}">
      <dsp:nvSpPr>
        <dsp:cNvPr id="0" name=""/>
        <dsp:cNvSpPr/>
      </dsp:nvSpPr>
      <dsp:spPr>
        <a:xfrm>
          <a:off x="3604999" y="2005485"/>
          <a:ext cx="1087330" cy="1062926"/>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3020" tIns="33020" rIns="33020" bIns="33020" numCol="1" spcCol="1270" anchor="ctr" anchorCtr="0">
          <a:noAutofit/>
        </a:bodyPr>
        <a:lstStyle/>
        <a:p>
          <a:pPr lvl="0" algn="ctr" defTabSz="1155700">
            <a:lnSpc>
              <a:spcPct val="90000"/>
            </a:lnSpc>
            <a:spcBef>
              <a:spcPct val="0"/>
            </a:spcBef>
            <a:spcAft>
              <a:spcPct val="35000"/>
            </a:spcAft>
          </a:pPr>
          <a:r>
            <a:rPr lang="ru-RU" sz="2600" kern="1200" dirty="0" smtClean="0"/>
            <a:t>РВИ</a:t>
          </a:r>
          <a:endParaRPr lang="ru-RU" sz="2600" kern="1200" dirty="0"/>
        </a:p>
      </dsp:txBody>
      <dsp:txXfrm>
        <a:off x="3764235" y="2161147"/>
        <a:ext cx="768858" cy="751602"/>
      </dsp:txXfrm>
    </dsp:sp>
    <dsp:sp modelId="{CA2DF19F-88E2-404A-890A-B8AEF5976498}">
      <dsp:nvSpPr>
        <dsp:cNvPr id="0" name=""/>
        <dsp:cNvSpPr/>
      </dsp:nvSpPr>
      <dsp:spPr>
        <a:xfrm rot="16084914">
          <a:off x="3822745" y="1228284"/>
          <a:ext cx="580688" cy="492795"/>
        </a:xfrm>
        <a:prstGeom prst="rightArrow">
          <a:avLst>
            <a:gd name="adj1" fmla="val 60000"/>
            <a:gd name="adj2" fmla="val 50000"/>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ru-RU" sz="2100" kern="1200"/>
        </a:p>
      </dsp:txBody>
      <dsp:txXfrm rot="10800000">
        <a:off x="3899138" y="1400721"/>
        <a:ext cx="432850" cy="295677"/>
      </dsp:txXfrm>
    </dsp:sp>
    <dsp:sp modelId="{BA43DBC2-75F5-4599-9D37-70AF8B24E2E1}">
      <dsp:nvSpPr>
        <dsp:cNvPr id="0" name=""/>
        <dsp:cNvSpPr/>
      </dsp:nvSpPr>
      <dsp:spPr>
        <a:xfrm>
          <a:off x="2946186" y="238364"/>
          <a:ext cx="2273517" cy="672396"/>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ru-RU" sz="2000" kern="1200" dirty="0" err="1" smtClean="0"/>
            <a:t>Гепатоспленомегалия</a:t>
          </a:r>
          <a:endParaRPr lang="ru-RU" sz="2000" kern="1200" dirty="0"/>
        </a:p>
      </dsp:txBody>
      <dsp:txXfrm>
        <a:off x="3279135" y="336834"/>
        <a:ext cx="1607619" cy="475456"/>
      </dsp:txXfrm>
    </dsp:sp>
    <dsp:sp modelId="{D62EE373-CE59-4E6A-98A7-C73484520335}">
      <dsp:nvSpPr>
        <dsp:cNvPr id="0" name=""/>
        <dsp:cNvSpPr/>
      </dsp:nvSpPr>
      <dsp:spPr>
        <a:xfrm rot="19718225">
          <a:off x="4853848" y="1596631"/>
          <a:ext cx="866589" cy="492795"/>
        </a:xfrm>
        <a:prstGeom prst="rightArrow">
          <a:avLst>
            <a:gd name="adj1" fmla="val 60000"/>
            <a:gd name="adj2" fmla="val 50000"/>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ru-RU" sz="2100" kern="1200"/>
        </a:p>
      </dsp:txBody>
      <dsp:txXfrm>
        <a:off x="4864648" y="1733662"/>
        <a:ext cx="718751" cy="295677"/>
      </dsp:txXfrm>
    </dsp:sp>
    <dsp:sp modelId="{EE2B3BB0-8689-448B-8551-8D3762661738}">
      <dsp:nvSpPr>
        <dsp:cNvPr id="0" name=""/>
        <dsp:cNvSpPr/>
      </dsp:nvSpPr>
      <dsp:spPr>
        <a:xfrm>
          <a:off x="5257809" y="609597"/>
          <a:ext cx="2727169" cy="840372"/>
        </a:xfrm>
        <a:prstGeom prst="ellipse">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ru-RU" sz="2000" kern="1200" dirty="0" smtClean="0">
              <a:solidFill>
                <a:srgbClr val="FF0000"/>
              </a:solidFill>
            </a:rPr>
            <a:t>Пневмония</a:t>
          </a:r>
          <a:endParaRPr lang="ru-RU" sz="2000" kern="1200" dirty="0">
            <a:solidFill>
              <a:srgbClr val="FF0000"/>
            </a:solidFill>
          </a:endParaRPr>
        </a:p>
      </dsp:txBody>
      <dsp:txXfrm>
        <a:off x="5657194" y="732667"/>
        <a:ext cx="1928399" cy="594232"/>
      </dsp:txXfrm>
    </dsp:sp>
    <dsp:sp modelId="{D3321F32-76BD-4E42-AB61-667D8F90CC96}">
      <dsp:nvSpPr>
        <dsp:cNvPr id="0" name=""/>
        <dsp:cNvSpPr/>
      </dsp:nvSpPr>
      <dsp:spPr>
        <a:xfrm rot="21254129">
          <a:off x="4870345" y="2195452"/>
          <a:ext cx="440697" cy="492795"/>
        </a:xfrm>
        <a:prstGeom prst="rightArrow">
          <a:avLst>
            <a:gd name="adj1" fmla="val 60000"/>
            <a:gd name="adj2" fmla="val 50000"/>
          </a:avLst>
        </a:prstGeom>
        <a:solidFill>
          <a:schemeClr val="accent4">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ru-RU" sz="2100" kern="1200"/>
        </a:p>
      </dsp:txBody>
      <dsp:txXfrm>
        <a:off x="4870679" y="2300651"/>
        <a:ext cx="308488" cy="295677"/>
      </dsp:txXfrm>
    </dsp:sp>
    <dsp:sp modelId="{500EEE96-F706-48EC-85D9-661ABDDBE94E}">
      <dsp:nvSpPr>
        <dsp:cNvPr id="0" name=""/>
        <dsp:cNvSpPr/>
      </dsp:nvSpPr>
      <dsp:spPr>
        <a:xfrm>
          <a:off x="5481018" y="1752604"/>
          <a:ext cx="2519981" cy="1045289"/>
        </a:xfrm>
        <a:prstGeom prst="ellips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ru-RU" sz="2000" kern="1200" dirty="0" smtClean="0"/>
            <a:t>Изменения почек</a:t>
          </a:r>
          <a:endParaRPr lang="ru-RU" sz="2000" kern="1200" dirty="0"/>
        </a:p>
      </dsp:txBody>
      <dsp:txXfrm>
        <a:off x="5850061" y="1905683"/>
        <a:ext cx="1781895" cy="739131"/>
      </dsp:txXfrm>
    </dsp:sp>
    <dsp:sp modelId="{F4A05156-00F5-42F8-AE65-95D5BFA4A9BB}">
      <dsp:nvSpPr>
        <dsp:cNvPr id="0" name=""/>
        <dsp:cNvSpPr/>
      </dsp:nvSpPr>
      <dsp:spPr>
        <a:xfrm rot="943269">
          <a:off x="4908988" y="2592478"/>
          <a:ext cx="624598" cy="492795"/>
        </a:xfrm>
        <a:prstGeom prst="rightArrow">
          <a:avLst>
            <a:gd name="adj1" fmla="val 60000"/>
            <a:gd name="adj2" fmla="val 50000"/>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ru-RU" sz="2100" kern="1200"/>
        </a:p>
      </dsp:txBody>
      <dsp:txXfrm>
        <a:off x="4911753" y="2671008"/>
        <a:ext cx="476760" cy="295677"/>
      </dsp:txXfrm>
    </dsp:sp>
    <dsp:sp modelId="{6F588DB4-70B2-4BF3-86F4-23084F199631}">
      <dsp:nvSpPr>
        <dsp:cNvPr id="0" name=""/>
        <dsp:cNvSpPr/>
      </dsp:nvSpPr>
      <dsp:spPr>
        <a:xfrm>
          <a:off x="5638810" y="2819398"/>
          <a:ext cx="1972147" cy="829140"/>
        </a:xfrm>
        <a:prstGeom prst="ellipse">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ru-RU" sz="2000" kern="1200" dirty="0" smtClean="0">
              <a:solidFill>
                <a:srgbClr val="FF0000"/>
              </a:solidFill>
            </a:rPr>
            <a:t>Синдром Шенлей-Геноха</a:t>
          </a:r>
          <a:endParaRPr lang="ru-RU" sz="2000" kern="1200" dirty="0">
            <a:solidFill>
              <a:srgbClr val="FF0000"/>
            </a:solidFill>
          </a:endParaRPr>
        </a:p>
      </dsp:txBody>
      <dsp:txXfrm>
        <a:off x="5927624" y="2940823"/>
        <a:ext cx="1394519" cy="586290"/>
      </dsp:txXfrm>
    </dsp:sp>
    <dsp:sp modelId="{C763957A-50BB-49FA-8294-BDA0C19A8D5C}">
      <dsp:nvSpPr>
        <dsp:cNvPr id="0" name=""/>
        <dsp:cNvSpPr/>
      </dsp:nvSpPr>
      <dsp:spPr>
        <a:xfrm rot="10080280">
          <a:off x="2905583" y="2500465"/>
          <a:ext cx="510223" cy="492795"/>
        </a:xfrm>
        <a:prstGeom prst="rightArrow">
          <a:avLst>
            <a:gd name="adj1" fmla="val 60000"/>
            <a:gd name="adj2" fmla="val 50000"/>
          </a:avLst>
        </a:prstGeom>
        <a:solidFill>
          <a:schemeClr val="accent6">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ru-RU" sz="2100" kern="1200"/>
        </a:p>
      </dsp:txBody>
      <dsp:txXfrm rot="10800000">
        <a:off x="3051807" y="2583661"/>
        <a:ext cx="362385" cy="295677"/>
      </dsp:txXfrm>
    </dsp:sp>
    <dsp:sp modelId="{11B62238-42C2-41A0-A421-7D54C573EF59}">
      <dsp:nvSpPr>
        <dsp:cNvPr id="0" name=""/>
        <dsp:cNvSpPr/>
      </dsp:nvSpPr>
      <dsp:spPr>
        <a:xfrm>
          <a:off x="152403" y="2602706"/>
          <a:ext cx="2705762" cy="991767"/>
        </a:xfrm>
        <a:prstGeom prst="ellipse">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ru-RU" sz="2000" kern="1200" dirty="0" smtClean="0"/>
            <a:t>Сахарный диабет 1 типа</a:t>
          </a:r>
          <a:endParaRPr lang="ru-RU" sz="2000" kern="1200" dirty="0"/>
        </a:p>
      </dsp:txBody>
      <dsp:txXfrm>
        <a:off x="548653" y="2747947"/>
        <a:ext cx="1913262" cy="701285"/>
      </dsp:txXfrm>
    </dsp:sp>
    <dsp:sp modelId="{2FCFF96F-8A09-4EDC-B2BD-DCB87D39C614}">
      <dsp:nvSpPr>
        <dsp:cNvPr id="0" name=""/>
        <dsp:cNvSpPr/>
      </dsp:nvSpPr>
      <dsp:spPr>
        <a:xfrm rot="11353454">
          <a:off x="2903552" y="2129360"/>
          <a:ext cx="505107" cy="492795"/>
        </a:xfrm>
        <a:prstGeom prst="rightArrow">
          <a:avLst>
            <a:gd name="adj1" fmla="val 60000"/>
            <a:gd name="adj2" fmla="val 50000"/>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ru-RU" sz="2100" kern="1200"/>
        </a:p>
      </dsp:txBody>
      <dsp:txXfrm rot="10800000">
        <a:off x="3050434" y="2239768"/>
        <a:ext cx="357269" cy="295677"/>
      </dsp:txXfrm>
    </dsp:sp>
    <dsp:sp modelId="{C4575EDD-E0AC-498D-AB30-EADBC1260C99}">
      <dsp:nvSpPr>
        <dsp:cNvPr id="0" name=""/>
        <dsp:cNvSpPr/>
      </dsp:nvSpPr>
      <dsp:spPr>
        <a:xfrm>
          <a:off x="2" y="1676399"/>
          <a:ext cx="2849762" cy="836419"/>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ru-RU" sz="2000" kern="1200" dirty="0" smtClean="0"/>
            <a:t>Миокардит</a:t>
          </a:r>
          <a:endParaRPr lang="ru-RU" sz="2000" kern="1200" dirty="0"/>
        </a:p>
      </dsp:txBody>
      <dsp:txXfrm>
        <a:off x="417340" y="1798890"/>
        <a:ext cx="2015086" cy="591437"/>
      </dsp:txXfrm>
    </dsp:sp>
    <dsp:sp modelId="{492A6AE2-58BE-4A18-ADE3-6DC3315D898F}">
      <dsp:nvSpPr>
        <dsp:cNvPr id="0" name=""/>
        <dsp:cNvSpPr/>
      </dsp:nvSpPr>
      <dsp:spPr>
        <a:xfrm rot="12609360">
          <a:off x="2365328" y="1550514"/>
          <a:ext cx="1019155" cy="492795"/>
        </a:xfrm>
        <a:prstGeom prst="rightArrow">
          <a:avLst>
            <a:gd name="adj1" fmla="val 60000"/>
            <a:gd name="adj2" fmla="val 50000"/>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ru-RU" sz="2100" kern="1200"/>
        </a:p>
      </dsp:txBody>
      <dsp:txXfrm rot="10800000">
        <a:off x="2503162" y="1686207"/>
        <a:ext cx="871317" cy="295677"/>
      </dsp:txXfrm>
    </dsp:sp>
    <dsp:sp modelId="{B0D77B0E-AD4F-4A97-B713-AB8AC4C66AC3}">
      <dsp:nvSpPr>
        <dsp:cNvPr id="0" name=""/>
        <dsp:cNvSpPr/>
      </dsp:nvSpPr>
      <dsp:spPr>
        <a:xfrm>
          <a:off x="457199" y="685806"/>
          <a:ext cx="2131057" cy="651016"/>
        </a:xfrm>
        <a:prstGeom prst="ellipse">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ru-RU" sz="2000" kern="1200" dirty="0" smtClean="0">
              <a:solidFill>
                <a:srgbClr val="FF0000"/>
              </a:solidFill>
            </a:rPr>
            <a:t>Анемия</a:t>
          </a:r>
          <a:endParaRPr lang="ru-RU" sz="2000" kern="1200" dirty="0">
            <a:solidFill>
              <a:srgbClr val="FF0000"/>
            </a:solidFill>
          </a:endParaRPr>
        </a:p>
      </dsp:txBody>
      <dsp:txXfrm>
        <a:off x="769285" y="781145"/>
        <a:ext cx="1506885" cy="460338"/>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image" Target="../media/image47.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6E57614-BD56-4509-B98C-398A8749A248}" type="datetimeFigureOut">
              <a:rPr lang="ru-RU" smtClean="0"/>
              <a:t>16.12.2021</a:t>
            </a:fld>
            <a:endParaRPr lang="ru-RU"/>
          </a:p>
        </p:txBody>
      </p:sp>
      <p:sp>
        <p:nvSpPr>
          <p:cNvPr id="4" name="Образ слайда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61B5439-7447-496B-AE2D-2A2F4FB6C62A}" type="slidenum">
              <a:rPr lang="ru-RU" smtClean="0"/>
              <a:t>‹#›</a:t>
            </a:fld>
            <a:endParaRPr lang="ru-RU"/>
          </a:p>
        </p:txBody>
      </p:sp>
    </p:spTree>
    <p:extLst>
      <p:ext uri="{BB962C8B-B14F-4D97-AF65-F5344CB8AC3E}">
        <p14:creationId xmlns:p14="http://schemas.microsoft.com/office/powerpoint/2010/main" val="21126122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6" name="Образ слайда 1"/>
          <p:cNvSpPr>
            <a:spLocks noGrp="1" noRot="1" noChangeAspect="1" noTextEdit="1"/>
          </p:cNvSpPr>
          <p:nvPr>
            <p:ph type="sldImg"/>
          </p:nvPr>
        </p:nvSpPr>
        <p:spPr>
          <a:xfrm>
            <a:off x="381000" y="685800"/>
            <a:ext cx="6096000" cy="3429000"/>
          </a:xfrm>
          <a:ln/>
        </p:spPr>
      </p:sp>
      <p:sp>
        <p:nvSpPr>
          <p:cNvPr id="277507" name="Заметки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smtClean="0"/>
          </a:p>
        </p:txBody>
      </p:sp>
      <p:sp>
        <p:nvSpPr>
          <p:cNvPr id="277508" name="Номер слайда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fld id="{2DEE3C5A-11C2-4C10-8EE5-8D3F10E4BDBE}" type="slidenum">
              <a:rPr lang="ru-RU" altLang="ru-RU">
                <a:solidFill>
                  <a:prstClr val="black"/>
                </a:solidFill>
              </a:rPr>
              <a:pPr/>
              <a:t>1</a:t>
            </a:fld>
            <a:endParaRPr lang="ru-RU" altLang="ru-RU">
              <a:solidFill>
                <a:prstClr val="black"/>
              </a:solidFill>
            </a:endParaRPr>
          </a:p>
        </p:txBody>
      </p:sp>
    </p:spTree>
    <p:extLst>
      <p:ext uri="{BB962C8B-B14F-4D97-AF65-F5344CB8AC3E}">
        <p14:creationId xmlns:p14="http://schemas.microsoft.com/office/powerpoint/2010/main" val="40579375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fld id="{148D859E-71F6-4888-88E2-492824140BEB}" type="slidenum">
              <a:rPr lang="ru-RU" altLang="ru-RU">
                <a:solidFill>
                  <a:prstClr val="black"/>
                </a:solidFill>
              </a:rPr>
              <a:pPr/>
              <a:t>19</a:t>
            </a:fld>
            <a:endParaRPr lang="ru-RU" altLang="ru-RU">
              <a:solidFill>
                <a:prstClr val="black"/>
              </a:solidFill>
            </a:endParaRPr>
          </a:p>
        </p:txBody>
      </p:sp>
      <p:sp>
        <p:nvSpPr>
          <p:cNvPr id="290819" name="Rectangle 2"/>
          <p:cNvSpPr>
            <a:spLocks noGrp="1" noRot="1" noChangeAspect="1" noChangeArrowheads="1" noTextEdit="1"/>
          </p:cNvSpPr>
          <p:nvPr>
            <p:ph type="sldImg"/>
          </p:nvPr>
        </p:nvSpPr>
        <p:spPr>
          <a:xfrm>
            <a:off x="381000" y="685800"/>
            <a:ext cx="6096000" cy="3429000"/>
          </a:xfrm>
          <a:ln/>
        </p:spPr>
      </p:sp>
      <p:sp>
        <p:nvSpPr>
          <p:cNvPr id="290820" name="Rectangle 3"/>
          <p:cNvSpPr>
            <a:spLocks noChangeArrowheads="1"/>
          </p:cNvSpPr>
          <p:nvPr/>
        </p:nvSpPr>
        <p:spPr bwMode="auto">
          <a:xfrm>
            <a:off x="611188" y="4319588"/>
            <a:ext cx="5757862" cy="1208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22338" eaLnBrk="0" fontAlgn="base" hangingPunct="0">
              <a:spcBef>
                <a:spcPct val="30000"/>
              </a:spcBef>
              <a:spcAft>
                <a:spcPct val="0"/>
              </a:spcAft>
            </a:pPr>
            <a:r>
              <a:rPr lang="de-DE" altLang="ru-RU" sz="1000" smtClean="0">
                <a:solidFill>
                  <a:prstClr val="black"/>
                </a:solidFill>
                <a:latin typeface="Arial" pitchFamily="34" charset="0"/>
                <a:cs typeface="Arial" pitchFamily="34" charset="0"/>
              </a:rPr>
              <a:t>Pneumokokken sind weltweit die bedeutendsten Erreger bakterieller Infektionen beim Menschen. Schätzungen gehen davon aus, daß jedes Jahr ca. 1,2 Mio. Menschen infolge einer Pneumokokken-Infektion sterben, 40</a:t>
            </a:r>
            <a:r>
              <a:rPr lang="de-DE" altLang="ru-RU" sz="400" baseline="30000" smtClean="0">
                <a:solidFill>
                  <a:prstClr val="black"/>
                </a:solidFill>
                <a:latin typeface="Arial" pitchFamily="34" charset="0"/>
                <a:cs typeface="Arial" pitchFamily="34" charset="0"/>
              </a:rPr>
              <a:t> </a:t>
            </a:r>
            <a:r>
              <a:rPr lang="de-DE" altLang="ru-RU" sz="1000" smtClean="0">
                <a:solidFill>
                  <a:prstClr val="black"/>
                </a:solidFill>
                <a:latin typeface="Arial" pitchFamily="34" charset="0"/>
                <a:cs typeface="Arial" pitchFamily="34" charset="0"/>
              </a:rPr>
              <a:t>% davon sind Kinder unter 5 Jahren. </a:t>
            </a:r>
            <a:br>
              <a:rPr lang="de-DE" altLang="ru-RU" sz="1000" smtClean="0">
                <a:solidFill>
                  <a:prstClr val="black"/>
                </a:solidFill>
                <a:latin typeface="Arial" pitchFamily="34" charset="0"/>
                <a:cs typeface="Arial" pitchFamily="34" charset="0"/>
              </a:rPr>
            </a:br>
            <a:r>
              <a:rPr lang="de-DE" altLang="ru-RU" sz="1000" smtClean="0">
                <a:solidFill>
                  <a:prstClr val="black"/>
                </a:solidFill>
                <a:latin typeface="Arial" pitchFamily="34" charset="0"/>
                <a:cs typeface="Arial" pitchFamily="34" charset="0"/>
              </a:rPr>
              <a:t/>
            </a:r>
            <a:br>
              <a:rPr lang="de-DE" altLang="ru-RU" sz="1000" smtClean="0">
                <a:solidFill>
                  <a:prstClr val="black"/>
                </a:solidFill>
                <a:latin typeface="Arial" pitchFamily="34" charset="0"/>
                <a:cs typeface="Arial" pitchFamily="34" charset="0"/>
              </a:rPr>
            </a:br>
            <a:r>
              <a:rPr lang="de-DE" altLang="ru-RU" sz="1000" smtClean="0">
                <a:solidFill>
                  <a:prstClr val="black"/>
                </a:solidFill>
                <a:latin typeface="Arial" pitchFamily="34" charset="0"/>
                <a:cs typeface="Arial" pitchFamily="34" charset="0"/>
              </a:rPr>
              <a:t>Pneumokokken-Infektionen können generell in nicht-invasive Erkrankungen wie Otitis media, Sinusitis oder Pneumonie und lebensbedrohliche invasive Erkrankungen wie Bakteriämie, Sepsis oder Meningitis unterschieden werden. Kleinere Kinder sind besonders häufig betroffen und benötigen einen effizienten Schutz.</a:t>
            </a:r>
          </a:p>
        </p:txBody>
      </p:sp>
      <p:sp>
        <p:nvSpPr>
          <p:cNvPr id="290821" name="Rectangle 4"/>
          <p:cNvSpPr>
            <a:spLocks noChangeArrowheads="1"/>
          </p:cNvSpPr>
          <p:nvPr/>
        </p:nvSpPr>
        <p:spPr bwMode="auto">
          <a:xfrm>
            <a:off x="611188" y="8450263"/>
            <a:ext cx="57578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22338" eaLnBrk="0" fontAlgn="base" hangingPunct="0">
              <a:spcBef>
                <a:spcPct val="0"/>
              </a:spcBef>
              <a:spcAft>
                <a:spcPct val="0"/>
              </a:spcAft>
            </a:pPr>
            <a:r>
              <a:rPr lang="de-DE" altLang="ru-RU" sz="800" b="1" smtClean="0">
                <a:solidFill>
                  <a:srgbClr val="000000"/>
                </a:solidFill>
                <a:latin typeface="Arial" pitchFamily="34" charset="0"/>
                <a:cs typeface="Arial" pitchFamily="34" charset="0"/>
              </a:rPr>
              <a:t>DGK-Expertenworkshop 2001,</a:t>
            </a:r>
            <a:r>
              <a:rPr lang="de-DE" altLang="ru-RU" sz="800" i="1" smtClean="0">
                <a:solidFill>
                  <a:srgbClr val="000000"/>
                </a:solidFill>
                <a:latin typeface="Arial" pitchFamily="34" charset="0"/>
                <a:cs typeface="Arial" pitchFamily="34" charset="0"/>
              </a:rPr>
              <a:t> </a:t>
            </a:r>
            <a:r>
              <a:rPr lang="de-DE" altLang="ru-RU" sz="800" smtClean="0">
                <a:solidFill>
                  <a:srgbClr val="000000"/>
                </a:solidFill>
                <a:latin typeface="Arial" pitchFamily="34" charset="0"/>
                <a:cs typeface="Arial" pitchFamily="34" charset="0"/>
              </a:rPr>
              <a:t>Pneumokokken-Erkrankungen bei Säuglingen und Kleinkindern. </a:t>
            </a:r>
            <a:br>
              <a:rPr lang="de-DE" altLang="ru-RU" sz="800" smtClean="0">
                <a:solidFill>
                  <a:srgbClr val="000000"/>
                </a:solidFill>
                <a:latin typeface="Arial" pitchFamily="34" charset="0"/>
                <a:cs typeface="Arial" pitchFamily="34" charset="0"/>
              </a:rPr>
            </a:br>
            <a:r>
              <a:rPr lang="de-DE" altLang="ru-RU" sz="800" smtClean="0">
                <a:solidFill>
                  <a:srgbClr val="000000"/>
                </a:solidFill>
                <a:latin typeface="Arial" pitchFamily="34" charset="0"/>
                <a:cs typeface="Arial" pitchFamily="34" charset="0"/>
              </a:rPr>
              <a:t>Stück B., von Voß H. (Hrsg.), Verlag im Kilian, 2001</a:t>
            </a:r>
          </a:p>
        </p:txBody>
      </p:sp>
    </p:spTree>
    <p:extLst>
      <p:ext uri="{BB962C8B-B14F-4D97-AF65-F5344CB8AC3E}">
        <p14:creationId xmlns:p14="http://schemas.microsoft.com/office/powerpoint/2010/main" val="1531924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2" name="Rectangle 2"/>
          <p:cNvSpPr>
            <a:spLocks noGrp="1" noRot="1" noChangeAspect="1" noTextEdit="1"/>
          </p:cNvSpPr>
          <p:nvPr>
            <p:ph type="sldImg"/>
          </p:nvPr>
        </p:nvSpPr>
        <p:spPr>
          <a:xfrm>
            <a:off x="384175" y="685800"/>
            <a:ext cx="6091238" cy="3427413"/>
          </a:xfrm>
          <a:ln/>
        </p:spPr>
      </p:sp>
      <p:sp>
        <p:nvSpPr>
          <p:cNvPr id="291843" name="Rectangle 3"/>
          <p:cNvSpPr>
            <a:spLocks noGrp="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r>
              <a:rPr lang="ru-RU" altLang="ru-RU" sz="600" smtClean="0"/>
              <a:t>Для возбудителей всех 3-х семейств характерно носительство в носоглотке, при этом носоглотка – их естественная среда обитания. Носительство, как правило, не сопровождается какими-либо симптомами. </a:t>
            </a:r>
          </a:p>
          <a:p>
            <a:pPr eaLnBrk="1" hangingPunct="1">
              <a:lnSpc>
                <a:spcPct val="80000"/>
              </a:lnSpc>
            </a:pPr>
            <a:r>
              <a:rPr lang="ru-RU" altLang="ru-RU" sz="600" smtClean="0"/>
              <a:t>При определенных обстоятельствах происходит прорыв микроорганизмов – они способны вызывать </a:t>
            </a:r>
            <a:r>
              <a:rPr lang="ru-RU" altLang="ru-RU" sz="600" b="1" smtClean="0"/>
              <a:t>бактериемию</a:t>
            </a:r>
            <a:r>
              <a:rPr lang="ru-RU" altLang="ru-RU" sz="600" smtClean="0"/>
              <a:t> (сепсис) с формированием очагов поражения в легких (</a:t>
            </a:r>
            <a:r>
              <a:rPr lang="ru-RU" altLang="ru-RU" sz="600" b="1" smtClean="0"/>
              <a:t>пневмония</a:t>
            </a:r>
            <a:r>
              <a:rPr lang="ru-RU" altLang="ru-RU" sz="600" smtClean="0"/>
              <a:t>), вызывать </a:t>
            </a:r>
            <a:r>
              <a:rPr lang="ru-RU" altLang="ru-RU" sz="600" b="1" smtClean="0"/>
              <a:t>отит </a:t>
            </a:r>
            <a:r>
              <a:rPr lang="ru-RU" altLang="ru-RU" sz="600" smtClean="0"/>
              <a:t>среднего уха, а также проникать через гематоэнцефалический барьер и вызывать воспаление мягкой мозговой оболочки – </a:t>
            </a:r>
            <a:r>
              <a:rPr lang="ru-RU" altLang="ru-RU" sz="600" b="1" smtClean="0"/>
              <a:t>менингит. </a:t>
            </a:r>
          </a:p>
          <a:p>
            <a:pPr eaLnBrk="1" hangingPunct="1">
              <a:lnSpc>
                <a:spcPct val="80000"/>
              </a:lnSpc>
            </a:pPr>
            <a:endParaRPr lang="ru-RU" altLang="ru-RU" sz="600" i="1" smtClean="0"/>
          </a:p>
          <a:p>
            <a:pPr eaLnBrk="1" hangingPunct="1">
              <a:lnSpc>
                <a:spcPct val="80000"/>
              </a:lnSpc>
            </a:pPr>
            <a:r>
              <a:rPr lang="ru-RU" altLang="ru-RU" sz="600" i="1" smtClean="0"/>
              <a:t>Для справки - уровень назофарингеального носительства эпидемически опасной гемофильной палочки типа </a:t>
            </a:r>
            <a:r>
              <a:rPr lang="en-US" altLang="ru-RU" sz="600" i="1" smtClean="0"/>
              <a:t>b</a:t>
            </a:r>
            <a:r>
              <a:rPr lang="ru-RU" altLang="ru-RU" sz="600" i="1" smtClean="0"/>
              <a:t> в домах ребенка Москвы составляет 10 – 40%.</a:t>
            </a:r>
            <a:r>
              <a:rPr lang="ru-RU" altLang="ru-RU" sz="600" b="1" i="1" smtClean="0"/>
              <a:t> (1)</a:t>
            </a:r>
          </a:p>
          <a:p>
            <a:pPr eaLnBrk="1" hangingPunct="1">
              <a:lnSpc>
                <a:spcPct val="80000"/>
              </a:lnSpc>
            </a:pPr>
            <a:endParaRPr lang="ru-RU" altLang="ru-RU" sz="600" smtClean="0"/>
          </a:p>
          <a:p>
            <a:pPr eaLnBrk="1" hangingPunct="1">
              <a:lnSpc>
                <a:spcPct val="80000"/>
              </a:lnSpc>
            </a:pPr>
            <a:r>
              <a:rPr lang="ru-RU" altLang="ru-RU" sz="600" b="1" u="sng" smtClean="0"/>
              <a:t>Передача</a:t>
            </a:r>
            <a:r>
              <a:rPr lang="ru-RU" altLang="ru-RU" sz="600" smtClean="0"/>
              <a:t> гемофильной палочки типа В происходит </a:t>
            </a:r>
            <a:r>
              <a:rPr lang="ru-RU" altLang="ru-RU" sz="600" b="1" u="sng" smtClean="0"/>
              <a:t>воздушно-капельным путем</a:t>
            </a:r>
            <a:r>
              <a:rPr lang="ru-RU" altLang="ru-RU" sz="600" smtClean="0"/>
              <a:t>, как от бессимптомных носителей, так и от больных. Значительное число носителей означает, что они должны играть существенную роль в передаче </a:t>
            </a:r>
            <a:r>
              <a:rPr lang="en-GB" altLang="ru-RU" sz="600" smtClean="0"/>
              <a:t>Hib</a:t>
            </a:r>
            <a:r>
              <a:rPr lang="ru-RU" altLang="ru-RU" sz="600" smtClean="0"/>
              <a:t>-заболеваний. Однако, только у небольшого процента лиц, контактировавших с возбудителем, в дальнейшем развиваются клинические проявления болезни, так как  контагиозность невелика. В связи с этим заболевание не носит эпидемического характера.  </a:t>
            </a:r>
            <a:endParaRPr lang="en-US" altLang="ru-RU" sz="600" smtClean="0"/>
          </a:p>
          <a:p>
            <a:pPr eaLnBrk="1" hangingPunct="1">
              <a:lnSpc>
                <a:spcPct val="80000"/>
              </a:lnSpc>
            </a:pPr>
            <a:r>
              <a:rPr lang="ru-RU" altLang="ru-RU" sz="600" smtClean="0"/>
              <a:t>(1) -  И.Н. Лыткина с соавторами 2000 год                                                                                          </a:t>
            </a:r>
          </a:p>
          <a:p>
            <a:pPr eaLnBrk="1" hangingPunct="1">
              <a:lnSpc>
                <a:spcPct val="80000"/>
              </a:lnSpc>
            </a:pPr>
            <a:endParaRPr lang="ru-RU" altLang="ru-RU" sz="600" b="1" smtClean="0"/>
          </a:p>
        </p:txBody>
      </p:sp>
    </p:spTree>
    <p:extLst>
      <p:ext uri="{BB962C8B-B14F-4D97-AF65-F5344CB8AC3E}">
        <p14:creationId xmlns:p14="http://schemas.microsoft.com/office/powerpoint/2010/main" val="17518328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fld id="{EA73022B-F5D9-440B-9B90-C06385D8F498}" type="slidenum">
              <a:rPr lang="en-US" altLang="ru-RU">
                <a:solidFill>
                  <a:srgbClr val="000000"/>
                </a:solidFill>
              </a:rPr>
              <a:pPr/>
              <a:t>21</a:t>
            </a:fld>
            <a:endParaRPr lang="en-US" altLang="ru-RU">
              <a:solidFill>
                <a:srgbClr val="000000"/>
              </a:solidFill>
            </a:endParaRPr>
          </a:p>
        </p:txBody>
      </p:sp>
      <p:sp>
        <p:nvSpPr>
          <p:cNvPr id="287747" name="Rectangle 7"/>
          <p:cNvSpPr txBox="1">
            <a:spLocks noGrp="1" noChangeArrowheads="1"/>
          </p:cNvSpPr>
          <p:nvPr/>
        </p:nvSpPr>
        <p:spPr bwMode="auto">
          <a:xfrm>
            <a:off x="3884613" y="8683625"/>
            <a:ext cx="2971800" cy="45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06" tIns="48303" rIns="96606" bIns="48303" anchor="b"/>
          <a:lstStyle>
            <a:lvl1pPr defTabSz="966788">
              <a:defRPr sz="1200">
                <a:solidFill>
                  <a:schemeClr val="tx1"/>
                </a:solidFill>
                <a:latin typeface="Arial" pitchFamily="34" charset="0"/>
                <a:cs typeface="Arial" pitchFamily="34" charset="0"/>
              </a:defRPr>
            </a:lvl1pPr>
            <a:lvl2pPr marL="742950" indent="-285750" defTabSz="966788">
              <a:defRPr sz="1200">
                <a:solidFill>
                  <a:schemeClr val="tx1"/>
                </a:solidFill>
                <a:latin typeface="Arial" pitchFamily="34" charset="0"/>
                <a:cs typeface="Arial" pitchFamily="34" charset="0"/>
              </a:defRPr>
            </a:lvl2pPr>
            <a:lvl3pPr marL="1143000" indent="-228600" defTabSz="966788">
              <a:defRPr sz="1200">
                <a:solidFill>
                  <a:schemeClr val="tx1"/>
                </a:solidFill>
                <a:latin typeface="Arial" pitchFamily="34" charset="0"/>
                <a:cs typeface="Arial" pitchFamily="34" charset="0"/>
              </a:defRPr>
            </a:lvl3pPr>
            <a:lvl4pPr marL="1600200" indent="-228600" defTabSz="966788">
              <a:defRPr sz="1200">
                <a:solidFill>
                  <a:schemeClr val="tx1"/>
                </a:solidFill>
                <a:latin typeface="Arial" pitchFamily="34" charset="0"/>
                <a:cs typeface="Arial" pitchFamily="34" charset="0"/>
              </a:defRPr>
            </a:lvl4pPr>
            <a:lvl5pPr marL="2057400" indent="-228600" defTabSz="966788">
              <a:defRPr sz="1200">
                <a:solidFill>
                  <a:schemeClr val="tx1"/>
                </a:solidFill>
                <a:latin typeface="Arial" pitchFamily="34" charset="0"/>
                <a:cs typeface="Arial" pitchFamily="34" charset="0"/>
              </a:defRPr>
            </a:lvl5pPr>
            <a:lvl6pPr marL="2514600" indent="-228600" defTabSz="966788"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66788"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66788"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66788"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fontAlgn="base">
              <a:spcBef>
                <a:spcPct val="0"/>
              </a:spcBef>
              <a:spcAft>
                <a:spcPct val="0"/>
              </a:spcAft>
            </a:pPr>
            <a:fld id="{2CDEF8BF-DC84-4F49-AF1C-C086B5045320}" type="slidenum">
              <a:rPr lang="en-US" altLang="ru-RU" smtClean="0">
                <a:solidFill>
                  <a:srgbClr val="000000"/>
                </a:solidFill>
              </a:rPr>
              <a:pPr algn="r" fontAlgn="base">
                <a:spcBef>
                  <a:spcPct val="0"/>
                </a:spcBef>
                <a:spcAft>
                  <a:spcPct val="0"/>
                </a:spcAft>
              </a:pPr>
              <a:t>21</a:t>
            </a:fld>
            <a:endParaRPr lang="en-US" altLang="ru-RU" smtClean="0">
              <a:solidFill>
                <a:srgbClr val="000000"/>
              </a:solidFill>
            </a:endParaRPr>
          </a:p>
        </p:txBody>
      </p:sp>
      <p:sp>
        <p:nvSpPr>
          <p:cNvPr id="287748" name="Rectangle 2"/>
          <p:cNvSpPr>
            <a:spLocks noGrp="1" noRot="1" noChangeAspect="1" noChangeArrowheads="1" noTextEdit="1"/>
          </p:cNvSpPr>
          <p:nvPr>
            <p:ph type="sldImg"/>
          </p:nvPr>
        </p:nvSpPr>
        <p:spPr>
          <a:xfrm>
            <a:off x="666750" y="579438"/>
            <a:ext cx="5524500" cy="3108325"/>
          </a:xfrm>
          <a:ln/>
        </p:spPr>
      </p:sp>
    </p:spTree>
    <p:extLst>
      <p:ext uri="{BB962C8B-B14F-4D97-AF65-F5344CB8AC3E}">
        <p14:creationId xmlns:p14="http://schemas.microsoft.com/office/powerpoint/2010/main" val="2293681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70" name="Rectangle 2"/>
          <p:cNvSpPr>
            <a:spLocks noGrp="1" noRot="1" noChangeAspect="1" noChangeArrowheads="1" noTextEdit="1"/>
          </p:cNvSpPr>
          <p:nvPr>
            <p:ph type="sldImg"/>
          </p:nvPr>
        </p:nvSpPr>
        <p:spPr>
          <a:xfrm>
            <a:off x="393700" y="692150"/>
            <a:ext cx="6072188" cy="3416300"/>
          </a:xfrm>
          <a:ln/>
        </p:spPr>
      </p:sp>
      <p:sp>
        <p:nvSpPr>
          <p:cNvPr id="142340" name="Rectangle 3"/>
          <p:cNvSpPr>
            <a:spLocks noGrp="1" noChangeArrowheads="1"/>
          </p:cNvSpPr>
          <p:nvPr>
            <p:ph type="body" idx="1"/>
          </p:nvPr>
        </p:nvSpPr>
        <p:spPr>
          <a:xfrm>
            <a:off x="914400" y="4344988"/>
            <a:ext cx="5029200" cy="3849687"/>
          </a:xfrm>
          <a:ln/>
        </p:spPr>
        <p:txBody>
          <a:bodyPr lIns="95354" tIns="47677" rIns="95354" bIns="47677"/>
          <a:lstStyle/>
          <a:p>
            <a:pPr marL="171450" indent="-171450" defTabSz="873125" eaLnBrk="1" hangingPunct="1">
              <a:lnSpc>
                <a:spcPct val="80000"/>
              </a:lnSpc>
              <a:defRPr/>
            </a:pPr>
            <a:r>
              <a:rPr lang="ru-RU" sz="1000" b="1" dirty="0" smtClean="0"/>
              <a:t>Заблуждения/вопросы: ветряная оспа безопасное заболевание.</a:t>
            </a:r>
          </a:p>
          <a:p>
            <a:pPr marL="171450" indent="-171450" defTabSz="873125" eaLnBrk="1" hangingPunct="1">
              <a:lnSpc>
                <a:spcPct val="80000"/>
              </a:lnSpc>
              <a:defRPr/>
            </a:pPr>
            <a:r>
              <a:rPr lang="ru-RU" sz="1000" dirty="0" smtClean="0"/>
              <a:t>Резюмируя вышесказанное, можно отметить, что ветряная оспа тяжело протекает даже у исходно здоровых детей</a:t>
            </a:r>
            <a:r>
              <a:rPr lang="ru-RU" sz="1000" baseline="30000" dirty="0" smtClean="0"/>
              <a:t>1,2</a:t>
            </a:r>
            <a:r>
              <a:rPr lang="ru-RU" sz="1000" dirty="0" smtClean="0"/>
              <a:t>.</a:t>
            </a:r>
          </a:p>
          <a:p>
            <a:pPr marL="171450" indent="-171450" defTabSz="873125" eaLnBrk="1" hangingPunct="1">
              <a:lnSpc>
                <a:spcPct val="80000"/>
              </a:lnSpc>
              <a:defRPr/>
            </a:pPr>
            <a:r>
              <a:rPr lang="ru-RU" sz="1000" dirty="0" smtClean="0"/>
              <a:t>Ветряная оспа может протекать очень тяжело у лиц, функция иммунной системы у которых нарушена в результате недостаточного питания, заболевания или проводимой терапии. </a:t>
            </a:r>
            <a:r>
              <a:rPr lang="ru-RU" sz="1000" baseline="30000" dirty="0" smtClean="0"/>
              <a:t>3</a:t>
            </a:r>
            <a:endParaRPr lang="ru-RU" sz="1000" dirty="0" smtClean="0"/>
          </a:p>
          <a:p>
            <a:pPr marL="171450" indent="-171450" defTabSz="873125" eaLnBrk="1" hangingPunct="1">
              <a:lnSpc>
                <a:spcPct val="80000"/>
              </a:lnSpc>
              <a:defRPr/>
            </a:pPr>
            <a:r>
              <a:rPr lang="ru-RU" sz="1000" dirty="0" smtClean="0"/>
              <a:t>Ветряная оспа во время беременности может быть опасна для матери, увеличивая риск пневмонии, преждевременных родов и смерти. </a:t>
            </a:r>
            <a:r>
              <a:rPr lang="ru-RU" sz="1000" baseline="30000" dirty="0" smtClean="0"/>
              <a:t>4</a:t>
            </a:r>
            <a:r>
              <a:rPr lang="ru-RU" sz="1000" dirty="0" smtClean="0"/>
              <a:t> </a:t>
            </a:r>
          </a:p>
          <a:p>
            <a:pPr marL="171450" indent="-171450" defTabSz="873125" eaLnBrk="1" hangingPunct="1">
              <a:lnSpc>
                <a:spcPct val="80000"/>
              </a:lnSpc>
              <a:defRPr/>
            </a:pPr>
            <a:r>
              <a:rPr lang="ru-RU" sz="1000" dirty="0" smtClean="0"/>
              <a:t>Врожденная ветряная оспа (</a:t>
            </a:r>
            <a:r>
              <a:rPr lang="ru-RU" sz="1000" dirty="0" err="1" smtClean="0"/>
              <a:t>неонатальная</a:t>
            </a:r>
            <a:r>
              <a:rPr lang="ru-RU" sz="1000" dirty="0" smtClean="0"/>
              <a:t> ветряная оспа, ветряная оспа новорожденных) может вызывать серьезные поражения плода. </a:t>
            </a:r>
            <a:r>
              <a:rPr lang="ru-RU" sz="1000" baseline="30000" dirty="0" smtClean="0"/>
              <a:t>5</a:t>
            </a:r>
            <a:endParaRPr lang="ru-RU" sz="1000" dirty="0" smtClean="0"/>
          </a:p>
          <a:p>
            <a:pPr marL="171450" indent="-171450" defTabSz="873125" eaLnBrk="1" hangingPunct="1">
              <a:lnSpc>
                <a:spcPct val="80000"/>
              </a:lnSpc>
              <a:defRPr/>
            </a:pPr>
            <a:r>
              <a:rPr lang="ru-RU" sz="1000" dirty="0" smtClean="0"/>
              <a:t>Любой человек, который был инфицирован </a:t>
            </a:r>
            <a:r>
              <a:rPr lang="en-GB" sz="1000" dirty="0" smtClean="0"/>
              <a:t>VZV</a:t>
            </a:r>
            <a:r>
              <a:rPr lang="ru-RU" sz="1000" dirty="0" smtClean="0"/>
              <a:t>, имеет риск развития опоясывающего герпеса в дальнейшей жизни. </a:t>
            </a:r>
            <a:r>
              <a:rPr lang="ru-RU" sz="1000" baseline="30000" dirty="0" smtClean="0"/>
              <a:t>6,7</a:t>
            </a:r>
            <a:r>
              <a:rPr lang="ru-RU" sz="1000" dirty="0" smtClean="0"/>
              <a:t> </a:t>
            </a:r>
          </a:p>
          <a:p>
            <a:pPr marL="171450" indent="-171450" defTabSz="873125" eaLnBrk="1" hangingPunct="1">
              <a:lnSpc>
                <a:spcPct val="80000"/>
              </a:lnSpc>
              <a:defRPr/>
            </a:pPr>
            <a:r>
              <a:rPr lang="ru-RU" sz="1000" dirty="0" smtClean="0"/>
              <a:t>Опоясывающий герпес является хроническим и </a:t>
            </a:r>
            <a:r>
              <a:rPr lang="ru-RU" sz="1000" dirty="0" err="1" smtClean="0"/>
              <a:t>инвалидизирующим</a:t>
            </a:r>
            <a:r>
              <a:rPr lang="ru-RU" sz="1000" dirty="0" smtClean="0"/>
              <a:t> заболеванием, симптомы которого могут </a:t>
            </a:r>
            <a:r>
              <a:rPr lang="ru-RU" sz="1000" dirty="0" err="1" smtClean="0"/>
              <a:t>персистировать</a:t>
            </a:r>
            <a:r>
              <a:rPr lang="ru-RU" sz="1000" dirty="0" smtClean="0"/>
              <a:t> в течение многих месяцев, и лечить которые очень трудно. </a:t>
            </a:r>
            <a:r>
              <a:rPr lang="ru-RU" sz="1000" baseline="30000" dirty="0" smtClean="0"/>
              <a:t>7</a:t>
            </a:r>
            <a:endParaRPr lang="ru-RU" sz="1000" dirty="0" smtClean="0"/>
          </a:p>
          <a:p>
            <a:pPr marL="171450" indent="-171450" defTabSz="873125" eaLnBrk="1" hangingPunct="1">
              <a:lnSpc>
                <a:spcPct val="80000"/>
              </a:lnSpc>
              <a:defRPr/>
            </a:pPr>
            <a:endParaRPr lang="ru-RU" sz="1000" dirty="0" smtClean="0"/>
          </a:p>
          <a:p>
            <a:pPr marL="171450" indent="-171450" defTabSz="873125" eaLnBrk="1" hangingPunct="1">
              <a:lnSpc>
                <a:spcPct val="80000"/>
              </a:lnSpc>
              <a:defRPr/>
            </a:pPr>
            <a:r>
              <a:rPr lang="ru-RU" sz="1000" dirty="0" smtClean="0"/>
              <a:t>Источники:</a:t>
            </a:r>
          </a:p>
          <a:p>
            <a:pPr marL="171450" indent="-171450" defTabSz="873125" eaLnBrk="1" hangingPunct="1">
              <a:lnSpc>
                <a:spcPct val="80000"/>
              </a:lnSpc>
              <a:buFontTx/>
              <a:buAutoNum type="arabicPeriod"/>
              <a:defRPr/>
            </a:pPr>
            <a:r>
              <a:rPr lang="en-GB" sz="1000" dirty="0" err="1" smtClean="0"/>
              <a:t>Galil</a:t>
            </a:r>
            <a:r>
              <a:rPr lang="en-GB" sz="1000" dirty="0" smtClean="0"/>
              <a:t> K, Brown C, Lin F, et al. Hospitalizations for </a:t>
            </a:r>
            <a:r>
              <a:rPr lang="en-GB" sz="1000" dirty="0" err="1" smtClean="0"/>
              <a:t>varicella</a:t>
            </a:r>
            <a:r>
              <a:rPr lang="en-GB" sz="1000" dirty="0" smtClean="0"/>
              <a:t> in the United States, 1988 to 1999. </a:t>
            </a:r>
            <a:r>
              <a:rPr lang="en-GB" sz="1000" dirty="0" err="1" smtClean="0"/>
              <a:t>Pediatr</a:t>
            </a:r>
            <a:r>
              <a:rPr lang="en-GB" sz="1000" dirty="0" smtClean="0"/>
              <a:t> Infect </a:t>
            </a:r>
            <a:r>
              <a:rPr lang="en-GB" sz="1000" dirty="0" err="1" smtClean="0"/>
              <a:t>Dis</a:t>
            </a:r>
            <a:r>
              <a:rPr lang="en-GB" sz="1000" dirty="0" smtClean="0"/>
              <a:t> J 2002; 21: 931–5.</a:t>
            </a:r>
            <a:r>
              <a:rPr lang="ru-RU" sz="1000" dirty="0" smtClean="0"/>
              <a:t> </a:t>
            </a:r>
          </a:p>
          <a:p>
            <a:pPr marL="171450" indent="-171450" defTabSz="873125" eaLnBrk="1" hangingPunct="1">
              <a:lnSpc>
                <a:spcPct val="80000"/>
              </a:lnSpc>
              <a:buFontTx/>
              <a:buAutoNum type="arabicPeriod"/>
              <a:defRPr/>
            </a:pPr>
            <a:r>
              <a:rPr lang="en-GB" sz="1000" dirty="0" smtClean="0"/>
              <a:t>NACI. National Advisory Committee on Immunization (NACI) update on </a:t>
            </a:r>
            <a:r>
              <a:rPr lang="en-GB" sz="1000" dirty="0" err="1" smtClean="0"/>
              <a:t>varicella</a:t>
            </a:r>
            <a:r>
              <a:rPr lang="en-GB" sz="1000" dirty="0" smtClean="0"/>
              <a:t>. Can </a:t>
            </a:r>
            <a:r>
              <a:rPr lang="en-GB" sz="1000" dirty="0" err="1" smtClean="0"/>
              <a:t>Commun</a:t>
            </a:r>
            <a:r>
              <a:rPr lang="en-GB" sz="1000" dirty="0" smtClean="0"/>
              <a:t> </a:t>
            </a:r>
            <a:r>
              <a:rPr lang="en-GB" sz="1000" dirty="0" err="1" smtClean="0"/>
              <a:t>Dis</a:t>
            </a:r>
            <a:r>
              <a:rPr lang="en-GB" sz="1000" dirty="0" smtClean="0"/>
              <a:t> Rep 2004; 30: 1–26.</a:t>
            </a:r>
            <a:endParaRPr lang="ru-RU" sz="1000" dirty="0" smtClean="0"/>
          </a:p>
          <a:p>
            <a:pPr marL="171450" indent="-171450" defTabSz="873125" eaLnBrk="1" hangingPunct="1">
              <a:lnSpc>
                <a:spcPct val="80000"/>
              </a:lnSpc>
              <a:buFontTx/>
              <a:buAutoNum type="arabicPeriod"/>
              <a:defRPr/>
            </a:pPr>
            <a:r>
              <a:rPr lang="en-GB" sz="1000" dirty="0" smtClean="0"/>
              <a:t>CDC, National Immunization Program. </a:t>
            </a:r>
            <a:r>
              <a:rPr lang="en-GB" sz="1000" dirty="0" err="1" smtClean="0"/>
              <a:t>Varicella</a:t>
            </a:r>
            <a:r>
              <a:rPr lang="en-GB" sz="1000" dirty="0" smtClean="0"/>
              <a:t>. In: The Pink Book, Epidemiology and prevention of vaccine-preventable diseases. 9th edition, 2006.</a:t>
            </a:r>
            <a:endParaRPr lang="ru-RU" sz="1000" dirty="0" smtClean="0"/>
          </a:p>
          <a:p>
            <a:pPr marL="171450" indent="-171450" defTabSz="873125" eaLnBrk="1" hangingPunct="1">
              <a:lnSpc>
                <a:spcPct val="80000"/>
              </a:lnSpc>
              <a:buFontTx/>
              <a:buAutoNum type="arabicPeriod"/>
              <a:defRPr/>
            </a:pPr>
            <a:r>
              <a:rPr lang="en-GB" sz="1000" dirty="0" err="1" smtClean="0"/>
              <a:t>Nathwani</a:t>
            </a:r>
            <a:r>
              <a:rPr lang="en-GB" sz="1000" dirty="0" smtClean="0"/>
              <a:t> D, Maclean A, Conway S, et al. </a:t>
            </a:r>
            <a:r>
              <a:rPr lang="en-GB" sz="1000" dirty="0" err="1" smtClean="0"/>
              <a:t>Varicella</a:t>
            </a:r>
            <a:r>
              <a:rPr lang="en-GB" sz="1000" dirty="0" smtClean="0"/>
              <a:t> infections in pregnancy and the newborn. A review prepared for the UK Advisory Group on Chickenpox on behalf of the British Society for the Study of Infection. J Infect 1998; 36 </a:t>
            </a:r>
            <a:r>
              <a:rPr lang="en-GB" sz="1000" dirty="0" err="1" smtClean="0"/>
              <a:t>Suppl</a:t>
            </a:r>
            <a:r>
              <a:rPr lang="en-GB" sz="1000" dirty="0" smtClean="0"/>
              <a:t> 1: 59–71.</a:t>
            </a:r>
            <a:endParaRPr lang="ru-RU" sz="1000" dirty="0" smtClean="0"/>
          </a:p>
          <a:p>
            <a:pPr marL="171450" indent="-171450" defTabSz="873125" eaLnBrk="1" hangingPunct="1">
              <a:lnSpc>
                <a:spcPct val="80000"/>
              </a:lnSpc>
              <a:buFontTx/>
              <a:buAutoNum type="arabicPeriod"/>
              <a:defRPr/>
            </a:pPr>
            <a:r>
              <a:rPr lang="en-GB" sz="1000" dirty="0" smtClean="0"/>
              <a:t>Fisher RG, Edwards KM. </a:t>
            </a:r>
            <a:r>
              <a:rPr lang="en-GB" sz="1000" dirty="0" err="1" smtClean="0"/>
              <a:t>Varicella</a:t>
            </a:r>
            <a:r>
              <a:rPr lang="en-GB" sz="1000" dirty="0" smtClean="0"/>
              <a:t>–zoster. </a:t>
            </a:r>
            <a:r>
              <a:rPr lang="en-GB" sz="1000" dirty="0" err="1" smtClean="0"/>
              <a:t>Pediatr</a:t>
            </a:r>
            <a:r>
              <a:rPr lang="en-GB" sz="1000" dirty="0" smtClean="0"/>
              <a:t> Rev 1998; 19: 62–6.</a:t>
            </a:r>
            <a:endParaRPr lang="ru-RU" sz="1000" dirty="0" smtClean="0"/>
          </a:p>
          <a:p>
            <a:pPr marL="171450" indent="-171450" defTabSz="873125" eaLnBrk="1" hangingPunct="1">
              <a:lnSpc>
                <a:spcPct val="80000"/>
              </a:lnSpc>
              <a:buFontTx/>
              <a:buAutoNum type="arabicPeriod"/>
              <a:defRPr/>
            </a:pPr>
            <a:r>
              <a:rPr lang="en-GB" sz="1000" dirty="0" smtClean="0"/>
              <a:t>Thomas SL, Hall AJ. What does epidemiology tell us about risk factors for herpes zoster? Lancet Infect </a:t>
            </a:r>
            <a:r>
              <a:rPr lang="en-GB" sz="1000" dirty="0" err="1" smtClean="0"/>
              <a:t>Dis</a:t>
            </a:r>
            <a:r>
              <a:rPr lang="en-GB" sz="1000" dirty="0" smtClean="0"/>
              <a:t> 2004; 4: 26–33.</a:t>
            </a:r>
          </a:p>
          <a:p>
            <a:pPr marL="171450" indent="-171450" defTabSz="873125" eaLnBrk="1" hangingPunct="1">
              <a:lnSpc>
                <a:spcPct val="80000"/>
              </a:lnSpc>
              <a:buFontTx/>
              <a:buAutoNum type="arabicPeriod"/>
              <a:defRPr/>
            </a:pPr>
            <a:r>
              <a:rPr lang="en-GB" sz="1000" dirty="0" err="1" smtClean="0"/>
              <a:t>Gnann</a:t>
            </a:r>
            <a:r>
              <a:rPr lang="en-GB" sz="1000" dirty="0" smtClean="0"/>
              <a:t> JW, Jr., Whitley RJ. Clinical practice. </a:t>
            </a:r>
            <a:r>
              <a:rPr lang="da-DK" sz="1000" dirty="0" smtClean="0"/>
              <a:t>Herpes zoster. </a:t>
            </a:r>
            <a:r>
              <a:rPr lang="fr-FR" sz="1000" dirty="0" smtClean="0"/>
              <a:t>N </a:t>
            </a:r>
            <a:r>
              <a:rPr lang="fr-FR" sz="1000" dirty="0" err="1" smtClean="0"/>
              <a:t>Engl</a:t>
            </a:r>
            <a:r>
              <a:rPr lang="fr-FR" sz="1000" dirty="0" smtClean="0"/>
              <a:t> J Med 2002; 347: 340–6.</a:t>
            </a:r>
            <a:endParaRPr lang="en-GB" sz="1000" dirty="0" smtClean="0"/>
          </a:p>
          <a:p>
            <a:pPr defTabSz="873125" eaLnBrk="1" hangingPunct="1">
              <a:defRPr/>
            </a:pPr>
            <a:r>
              <a:rPr lang="en-US" sz="1000" dirty="0" smtClean="0">
                <a:latin typeface="Arial" charset="0"/>
              </a:rPr>
              <a:t> </a:t>
            </a:r>
          </a:p>
          <a:p>
            <a:pPr defTabSz="873125" eaLnBrk="1" hangingPunct="1">
              <a:defRPr/>
            </a:pPr>
            <a:endParaRPr lang="en-US" sz="1000" dirty="0" smtClean="0">
              <a:latin typeface="Arial" charset="0"/>
            </a:endParaRPr>
          </a:p>
          <a:p>
            <a:pPr defTabSz="873125" eaLnBrk="1" hangingPunct="1">
              <a:defRPr/>
            </a:pPr>
            <a:r>
              <a:rPr lang="en-GB" sz="800" dirty="0" smtClean="0">
                <a:latin typeface="Arial" charset="0"/>
              </a:rPr>
              <a:t>1. </a:t>
            </a:r>
            <a:r>
              <a:rPr lang="en-GB" sz="800" dirty="0" err="1" smtClean="0">
                <a:latin typeface="Arial" charset="0"/>
              </a:rPr>
              <a:t>Bonanni</a:t>
            </a:r>
            <a:r>
              <a:rPr lang="en-GB" sz="800" dirty="0" smtClean="0">
                <a:latin typeface="Arial" charset="0"/>
              </a:rPr>
              <a:t> P, Breuer J, </a:t>
            </a:r>
            <a:r>
              <a:rPr lang="en-GB" sz="800" dirty="0" err="1" smtClean="0">
                <a:latin typeface="Arial" charset="0"/>
              </a:rPr>
              <a:t>Gershon</a:t>
            </a:r>
            <a:r>
              <a:rPr lang="en-GB" sz="800" dirty="0" smtClean="0">
                <a:latin typeface="Arial" charset="0"/>
              </a:rPr>
              <a:t> A</a:t>
            </a:r>
            <a:r>
              <a:rPr lang="en-GB" sz="800" i="1" dirty="0" smtClean="0">
                <a:latin typeface="Arial" charset="0"/>
              </a:rPr>
              <a:t>, et al.</a:t>
            </a:r>
            <a:r>
              <a:rPr lang="en-GB" sz="800" dirty="0" smtClean="0">
                <a:latin typeface="Arial" charset="0"/>
              </a:rPr>
              <a:t> </a:t>
            </a:r>
            <a:r>
              <a:rPr lang="en-GB" sz="800" dirty="0" err="1" smtClean="0">
                <a:latin typeface="Arial" charset="0"/>
              </a:rPr>
              <a:t>Varicella</a:t>
            </a:r>
            <a:r>
              <a:rPr lang="en-GB" sz="800" dirty="0" smtClean="0">
                <a:latin typeface="Arial" charset="0"/>
              </a:rPr>
              <a:t> vaccination in Europe </a:t>
            </a:r>
            <a:r>
              <a:rPr lang="en-GB" sz="800" dirty="0" smtClean="0">
                <a:latin typeface="Arial" charset="0"/>
                <a:cs typeface="Arial" charset="0"/>
              </a:rPr>
              <a:t>–</a:t>
            </a:r>
            <a:r>
              <a:rPr lang="en-GB" sz="800" dirty="0" smtClean="0">
                <a:latin typeface="Arial" charset="0"/>
              </a:rPr>
              <a:t> taking the practical approach. </a:t>
            </a:r>
            <a:r>
              <a:rPr lang="en-GB" sz="800" i="1" dirty="0" smtClean="0">
                <a:latin typeface="Arial" charset="0"/>
              </a:rPr>
              <a:t>BMC Med</a:t>
            </a:r>
            <a:r>
              <a:rPr lang="en-GB" sz="800" dirty="0" smtClean="0">
                <a:latin typeface="Arial" charset="0"/>
              </a:rPr>
              <a:t> 2009; </a:t>
            </a:r>
            <a:r>
              <a:rPr lang="en-GB" sz="800" b="1" dirty="0" smtClean="0">
                <a:latin typeface="Arial" charset="0"/>
              </a:rPr>
              <a:t>7</a:t>
            </a:r>
            <a:r>
              <a:rPr lang="en-GB" sz="800" dirty="0" smtClean="0">
                <a:latin typeface="Arial" charset="0"/>
              </a:rPr>
              <a:t>: 26</a:t>
            </a:r>
            <a:endParaRPr lang="en-US" sz="1000" dirty="0" smtClean="0">
              <a:latin typeface="Arial" charset="0"/>
            </a:endParaRPr>
          </a:p>
        </p:txBody>
      </p:sp>
      <p:sp>
        <p:nvSpPr>
          <p:cNvPr id="288772" name="Дата 4"/>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r>
              <a:rPr lang="ru-RU" altLang="ru-RU">
                <a:solidFill>
                  <a:prstClr val="black"/>
                </a:solidFill>
              </a:rPr>
              <a:t>20.03.15.</a:t>
            </a:r>
            <a:endParaRPr lang="en-GB" altLang="ru-RU">
              <a:solidFill>
                <a:prstClr val="black"/>
              </a:solidFill>
            </a:endParaRPr>
          </a:p>
        </p:txBody>
      </p:sp>
      <p:sp>
        <p:nvSpPr>
          <p:cNvPr id="288773" name="Нижний колонтитул 5"/>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endParaRPr lang="en-GB" altLang="ru-RU">
              <a:solidFill>
                <a:prstClr val="black"/>
              </a:solidFill>
            </a:endParaRPr>
          </a:p>
        </p:txBody>
      </p:sp>
    </p:spTree>
    <p:extLst>
      <p:ext uri="{BB962C8B-B14F-4D97-AF65-F5344CB8AC3E}">
        <p14:creationId xmlns:p14="http://schemas.microsoft.com/office/powerpoint/2010/main" val="32400736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897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fld id="{7BFB931A-6C0F-44ED-8289-CF110F0CE8DD}" type="slidenum">
              <a:rPr lang="ru-RU" altLang="ru-RU">
                <a:solidFill>
                  <a:prstClr val="black"/>
                </a:solidFill>
              </a:rPr>
              <a:pPr/>
              <a:t>24</a:t>
            </a:fld>
            <a:endParaRPr lang="ru-RU" altLang="ru-RU">
              <a:solidFill>
                <a:prstClr val="black"/>
              </a:solidFill>
            </a:endParaRPr>
          </a:p>
        </p:txBody>
      </p:sp>
      <p:sp>
        <p:nvSpPr>
          <p:cNvPr id="289795" name="Text Box 1"/>
          <p:cNvSpPr txBox="1">
            <a:spLocks noChangeArrowheads="1"/>
          </p:cNvSpPr>
          <p:nvPr/>
        </p:nvSpPr>
        <p:spPr bwMode="auto">
          <a:xfrm>
            <a:off x="3884613" y="8683625"/>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b"/>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1pPr>
            <a:lvl2pPr marL="742950" indent="-28575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2pPr>
            <a:lvl3pPr marL="11430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3pPr>
            <a:lvl4pPr marL="16002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4pPr>
            <a:lvl5pPr marL="20574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9pPr>
          </a:lstStyle>
          <a:p>
            <a:pPr algn="r" fontAlgn="base">
              <a:spcBef>
                <a:spcPct val="0"/>
              </a:spcBef>
              <a:spcAft>
                <a:spcPct val="0"/>
              </a:spcAft>
            </a:pPr>
            <a:fld id="{33F196BA-EC55-441F-8217-34BAD7584A9A}" type="slidenum">
              <a:rPr lang="ru-RU" altLang="ru-RU" smtClean="0">
                <a:solidFill>
                  <a:srgbClr val="000000"/>
                </a:solidFill>
                <a:ea typeface="Microsoft YaHei" pitchFamily="34" charset="-122"/>
              </a:rPr>
              <a:pPr algn="r" fontAlgn="base">
                <a:spcBef>
                  <a:spcPct val="0"/>
                </a:spcBef>
                <a:spcAft>
                  <a:spcPct val="0"/>
                </a:spcAft>
              </a:pPr>
              <a:t>24</a:t>
            </a:fld>
            <a:endParaRPr lang="ru-RU" altLang="ru-RU" smtClean="0">
              <a:solidFill>
                <a:srgbClr val="000000"/>
              </a:solidFill>
              <a:ea typeface="Microsoft YaHei" pitchFamily="34" charset="-122"/>
            </a:endParaRPr>
          </a:p>
        </p:txBody>
      </p:sp>
      <p:sp>
        <p:nvSpPr>
          <p:cNvPr id="289796" name="Text Box 2"/>
          <p:cNvSpPr txBox="1">
            <a:spLocks noChangeArrowheads="1"/>
          </p:cNvSpPr>
          <p:nvPr/>
        </p:nvSpPr>
        <p:spPr bwMode="auto">
          <a:xfrm>
            <a:off x="3886200" y="8683625"/>
            <a:ext cx="29702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b"/>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1pPr>
            <a:lvl2pPr marL="742950" indent="-28575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2pPr>
            <a:lvl3pPr marL="11430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3pPr>
            <a:lvl4pPr marL="16002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4pPr>
            <a:lvl5pPr marL="2057400" indent="-2286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chemeClr val="tx1"/>
                </a:solidFill>
                <a:latin typeface="Arial" pitchFamily="34" charset="0"/>
                <a:cs typeface="Arial" pitchFamily="34" charset="0"/>
              </a:defRPr>
            </a:lvl9pPr>
          </a:lstStyle>
          <a:p>
            <a:pPr algn="r" fontAlgn="base">
              <a:spcBef>
                <a:spcPct val="0"/>
              </a:spcBef>
              <a:spcAft>
                <a:spcPct val="0"/>
              </a:spcAft>
            </a:pPr>
            <a:fld id="{19595A9C-CAE1-48C2-ADF5-3C9C38496A72}" type="slidenum">
              <a:rPr lang="en-GB" altLang="ru-RU" smtClean="0">
                <a:solidFill>
                  <a:srgbClr val="000000"/>
                </a:solidFill>
              </a:rPr>
              <a:pPr algn="r" fontAlgn="base">
                <a:spcBef>
                  <a:spcPct val="0"/>
                </a:spcBef>
                <a:spcAft>
                  <a:spcPct val="0"/>
                </a:spcAft>
              </a:pPr>
              <a:t>24</a:t>
            </a:fld>
            <a:endParaRPr lang="en-GB" altLang="ru-RU" smtClean="0">
              <a:solidFill>
                <a:srgbClr val="000000"/>
              </a:solidFill>
            </a:endParaRPr>
          </a:p>
        </p:txBody>
      </p:sp>
      <p:sp>
        <p:nvSpPr>
          <p:cNvPr id="289797" name="Rectangle 3"/>
          <p:cNvSpPr>
            <a:spLocks noGrp="1" noRot="1" noChangeAspect="1" noChangeArrowheads="1" noTextEdit="1"/>
          </p:cNvSpPr>
          <p:nvPr>
            <p:ph type="sldImg"/>
          </p:nvPr>
        </p:nvSpPr>
        <p:spPr>
          <a:xfrm>
            <a:off x="384175" y="687388"/>
            <a:ext cx="6092825" cy="3427412"/>
          </a:xfrm>
          <a:solidFill>
            <a:srgbClr val="FFFFFF"/>
          </a:solidFill>
          <a:ln/>
        </p:spPr>
      </p:sp>
      <p:sp>
        <p:nvSpPr>
          <p:cNvPr id="289798" name="Text Box 4"/>
          <p:cNvSpPr>
            <a:spLocks noGrp="1" noChangeArrowheads="1"/>
          </p:cNvSpPr>
          <p:nvPr>
            <p:ph type="body" idx="1"/>
          </p:nvPr>
        </p:nvSpPr>
        <p:spPr>
          <a:xfrm>
            <a:off x="685800" y="4341813"/>
            <a:ext cx="5486400" cy="41132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a:lnSpc>
                <a:spcPct val="90000"/>
              </a:lnSpc>
              <a:spcBef>
                <a:spcPct val="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altLang="ru-RU" sz="1000" smtClean="0">
                <a:latin typeface="Calibri" pitchFamily="34" charset="0"/>
                <a:ea typeface="Microsoft YaHei" pitchFamily="34" charset="-122"/>
              </a:rPr>
              <a:t>Ветряная оспа, развившаяся во время беременности,  может привести к врожденной или неонатальной ветрянке новорожденного.</a:t>
            </a:r>
          </a:p>
          <a:p>
            <a:pPr>
              <a:lnSpc>
                <a:spcPct val="90000"/>
              </a:lnSpc>
              <a:spcBef>
                <a:spcPct val="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ru-RU" altLang="ru-RU" sz="1000" smtClean="0">
              <a:latin typeface="Calibri" pitchFamily="34" charset="0"/>
              <a:ea typeface="Microsoft YaHei" pitchFamily="34" charset="-122"/>
            </a:endParaRPr>
          </a:p>
          <a:p>
            <a:pPr>
              <a:lnSpc>
                <a:spcPct val="90000"/>
              </a:lnSpc>
              <a:spcBef>
                <a:spcPct val="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altLang="ru-RU" sz="1000" smtClean="0">
                <a:latin typeface="Calibri" pitchFamily="34" charset="0"/>
                <a:ea typeface="Microsoft YaHei" pitchFamily="34" charset="-122"/>
              </a:rPr>
              <a:t>Синдром врожденной ветрянки - следствие материнской инфекции, перенесенной во время беременности. При инфицировании ВЗВ между 13 и 20 неделями беременности риск врожденной ветрянки составляет 2% . При синдроме врожденной ветряной оспы регистрируют: гипоплазию конечностей, гипотрофию, микроцефалию и другие неврологические нарушения</a:t>
            </a:r>
            <a:r>
              <a:rPr lang="en-GB" altLang="ru-RU" sz="1000" smtClean="0">
                <a:latin typeface="Calibri" pitchFamily="34" charset="0"/>
                <a:ea typeface="Microsoft YaHei" pitchFamily="34" charset="-122"/>
              </a:rPr>
              <a:t>.</a:t>
            </a:r>
            <a:r>
              <a:rPr lang="en-GB" altLang="ru-RU" sz="1000" baseline="30000" smtClean="0">
                <a:latin typeface="Calibri" pitchFamily="34" charset="0"/>
                <a:ea typeface="Microsoft YaHei" pitchFamily="34" charset="-122"/>
              </a:rPr>
              <a:t>1,2 </a:t>
            </a:r>
            <a:r>
              <a:rPr lang="ru-RU" altLang="ru-RU" sz="1000" smtClean="0">
                <a:latin typeface="Calibri" pitchFamily="34" charset="0"/>
                <a:ea typeface="Microsoft YaHei" pitchFamily="34" charset="-122"/>
              </a:rPr>
              <a:t> Также существует риск мертворождения, спонтанного аборта, преждевременных родов, недоношенности. У новорожденных с врожденной ветрянкой имеется риск ранней реактивации вируса (опоясывающий лишай).</a:t>
            </a:r>
            <a:r>
              <a:rPr lang="en-GB" altLang="ru-RU" sz="1000" baseline="30000" smtClean="0">
                <a:latin typeface="Calibri" pitchFamily="34" charset="0"/>
                <a:ea typeface="Microsoft YaHei" pitchFamily="34" charset="-122"/>
              </a:rPr>
              <a:t>3</a:t>
            </a:r>
          </a:p>
          <a:p>
            <a:pPr>
              <a:lnSpc>
                <a:spcPct val="90000"/>
              </a:lnSpc>
              <a:spcBef>
                <a:spcPct val="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ru-RU" altLang="ru-RU" sz="1000" smtClean="0">
              <a:latin typeface="Calibri" pitchFamily="34" charset="0"/>
              <a:ea typeface="Microsoft YaHei" pitchFamily="34" charset="-122"/>
            </a:endParaRPr>
          </a:p>
          <a:p>
            <a:pPr>
              <a:lnSpc>
                <a:spcPct val="90000"/>
              </a:lnSpc>
              <a:spcBef>
                <a:spcPct val="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altLang="ru-RU" sz="1000" smtClean="0">
                <a:latin typeface="Calibri" pitchFamily="34" charset="0"/>
                <a:ea typeface="Microsoft YaHei" pitchFamily="34" charset="-122"/>
              </a:rPr>
              <a:t>Неонатальная ветрянка поражает новорожденных при инфицировании матери на поздних сроках беременности (за 14 дней до родов). Заболевание протекает особенно тяжело, если мать была инфицирована в течение 5 дней перед родами – в этом случае защитные антитела не успевают сформироваться и трансплацентарно защитить плод. Летальность может составить 30%</a:t>
            </a:r>
            <a:r>
              <a:rPr lang="en-GB" altLang="ru-RU" sz="1000" smtClean="0">
                <a:latin typeface="Calibri" pitchFamily="34" charset="0"/>
                <a:ea typeface="Microsoft YaHei" pitchFamily="34" charset="-122"/>
              </a:rPr>
              <a:t>.</a:t>
            </a:r>
            <a:r>
              <a:rPr lang="en-GB" altLang="ru-RU" sz="1000" baseline="30000" smtClean="0">
                <a:latin typeface="Calibri" pitchFamily="34" charset="0"/>
                <a:ea typeface="Microsoft YaHei" pitchFamily="34" charset="-122"/>
              </a:rPr>
              <a:t>4 </a:t>
            </a:r>
            <a:r>
              <a:rPr lang="ru-RU" altLang="ru-RU" sz="1000" baseline="30000" smtClean="0">
                <a:latin typeface="Calibri" pitchFamily="34" charset="0"/>
                <a:ea typeface="Microsoft YaHei" pitchFamily="34" charset="-122"/>
              </a:rPr>
              <a:t> </a:t>
            </a:r>
            <a:r>
              <a:rPr lang="ru-RU" altLang="ru-RU" sz="1000" smtClean="0">
                <a:latin typeface="Calibri" pitchFamily="34" charset="0"/>
                <a:ea typeface="Microsoft YaHei" pitchFamily="34" charset="-122"/>
              </a:rPr>
              <a:t>Эта ситуация также опасна и для роженицы – выше риск осложнений, в частности, пневмонии и летального исхода.</a:t>
            </a:r>
          </a:p>
          <a:p>
            <a:pPr>
              <a:lnSpc>
                <a:spcPct val="90000"/>
              </a:lnSpc>
              <a:spcBef>
                <a:spcPct val="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altLang="ru-RU" sz="1000" smtClean="0">
                <a:latin typeface="Calibri" pitchFamily="34" charset="0"/>
                <a:ea typeface="Microsoft YaHei" pitchFamily="34" charset="-122"/>
              </a:rPr>
              <a:t> На фотографии представлен случай тяжелой неонатальной ветрянки с распространенными сливными обширными элементами, поразившими грудь, разгибательную поверхность рук, лопаточную область, шею, лицо, волосистую часть головы. </a:t>
            </a:r>
          </a:p>
          <a:p>
            <a:pPr>
              <a:lnSpc>
                <a:spcPct val="90000"/>
              </a:lnSpc>
              <a:spcBef>
                <a:spcPct val="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en-GB" altLang="ru-RU" sz="1000" baseline="30000" smtClean="0">
              <a:latin typeface="Calibri" pitchFamily="34" charset="0"/>
              <a:ea typeface="Microsoft YaHei" pitchFamily="34" charset="-122"/>
            </a:endParaRPr>
          </a:p>
          <a:p>
            <a:pPr>
              <a:lnSpc>
                <a:spcPct val="90000"/>
              </a:lnSpc>
              <a:spcBef>
                <a:spcPct val="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ru-RU" sz="1000" smtClean="0">
                <a:latin typeface="Calibri" pitchFamily="34" charset="0"/>
                <a:ea typeface="Microsoft YaHei" pitchFamily="34" charset="-122"/>
              </a:rPr>
              <a:t>1. Enders G, Miller E, Cradock-Watson J et al. Consequences of varicella and herpes zoster in pregnancy: prospective study of 1739 cases. Lancet 1994; 343: 1548−51. </a:t>
            </a:r>
          </a:p>
          <a:p>
            <a:pPr>
              <a:lnSpc>
                <a:spcPct val="90000"/>
              </a:lnSpc>
              <a:spcBef>
                <a:spcPct val="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ru-RU" sz="1000" smtClean="0">
                <a:latin typeface="Calibri" pitchFamily="34" charset="0"/>
                <a:ea typeface="Microsoft YaHei" pitchFamily="34" charset="-122"/>
              </a:rPr>
              <a:t>2. NACI. National Advisory Committee on Immunization (NACI) update on varicella. Can Commun Dis Rep 2004; 30: 1−26.</a:t>
            </a:r>
          </a:p>
          <a:p>
            <a:pPr>
              <a:lnSpc>
                <a:spcPct val="90000"/>
              </a:lnSpc>
              <a:spcBef>
                <a:spcPct val="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ru-RU" sz="1000" smtClean="0">
                <a:latin typeface="Calibri" pitchFamily="34" charset="0"/>
                <a:ea typeface="Microsoft YaHei" pitchFamily="34" charset="-122"/>
              </a:rPr>
              <a:t>3. Gershon AA. Varicella zoster virus: prospects for control. Adv Pediatr Infect Dis 1995; 10: 93−124.</a:t>
            </a:r>
          </a:p>
          <a:p>
            <a:pPr>
              <a:lnSpc>
                <a:spcPct val="90000"/>
              </a:lnSpc>
              <a:spcBef>
                <a:spcPct val="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altLang="ru-RU" sz="1000" smtClean="0">
                <a:latin typeface="Calibri" pitchFamily="34" charset="0"/>
                <a:ea typeface="Microsoft YaHei" pitchFamily="34" charset="-122"/>
              </a:rPr>
              <a:t>4. Nathwani D, Maclean A, Conway S, et al. Varicella infections in pregnancy and the newborn. A review prepared for the UK Advisory Group on Chickenpox on behalf of the British Society for the Study of Infection. J Infect 1998; 36 (Suppl 1): 59−71.</a:t>
            </a:r>
          </a:p>
        </p:txBody>
      </p:sp>
    </p:spTree>
    <p:extLst>
      <p:ext uri="{BB962C8B-B14F-4D97-AF65-F5344CB8AC3E}">
        <p14:creationId xmlns:p14="http://schemas.microsoft.com/office/powerpoint/2010/main" val="39623712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6" name="Slide Image Placeholder 1"/>
          <p:cNvSpPr>
            <a:spLocks noGrp="1" noRot="1" noChangeAspect="1" noTextEdit="1"/>
          </p:cNvSpPr>
          <p:nvPr>
            <p:ph type="sldImg"/>
          </p:nvPr>
        </p:nvSpPr>
        <p:spPr>
          <a:xfrm>
            <a:off x="381000" y="685800"/>
            <a:ext cx="6096000" cy="3429000"/>
          </a:xfrm>
          <a:ln/>
        </p:spPr>
      </p:sp>
      <p:sp>
        <p:nvSpPr>
          <p:cNvPr id="2928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ru-RU" smtClean="0"/>
          </a:p>
        </p:txBody>
      </p:sp>
      <p:sp>
        <p:nvSpPr>
          <p:cNvPr id="292868" name="Header Placeholder 3"/>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endParaRPr lang="ru-RU" altLang="ru-RU">
              <a:solidFill>
                <a:srgbClr val="000000"/>
              </a:solidFill>
            </a:endParaRPr>
          </a:p>
        </p:txBody>
      </p:sp>
      <p:sp>
        <p:nvSpPr>
          <p:cNvPr id="292869" name="Footer Placeholder 4"/>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endParaRPr lang="ru-RU" altLang="ru-RU">
              <a:solidFill>
                <a:srgbClr val="000000"/>
              </a:solidFill>
            </a:endParaRPr>
          </a:p>
        </p:txBody>
      </p:sp>
      <p:sp>
        <p:nvSpPr>
          <p:cNvPr id="292870" name="Slide Number Placeholder 5"/>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fld id="{C801213D-7F99-47F8-A0FC-571CA6083A36}" type="slidenum">
              <a:rPr lang="ru-RU" altLang="ru-RU">
                <a:solidFill>
                  <a:srgbClr val="000000"/>
                </a:solidFill>
              </a:rPr>
              <a:pPr/>
              <a:t>25</a:t>
            </a:fld>
            <a:endParaRPr lang="ru-RU" altLang="ru-RU">
              <a:solidFill>
                <a:srgbClr val="000000"/>
              </a:solidFill>
            </a:endParaRPr>
          </a:p>
        </p:txBody>
      </p:sp>
    </p:spTree>
    <p:extLst>
      <p:ext uri="{BB962C8B-B14F-4D97-AF65-F5344CB8AC3E}">
        <p14:creationId xmlns:p14="http://schemas.microsoft.com/office/powerpoint/2010/main" val="15117330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D61B5439-7447-496B-AE2D-2A2F4FB6C62A}" type="slidenum">
              <a:rPr lang="ru-RU" smtClean="0"/>
              <a:t>26</a:t>
            </a:fld>
            <a:endParaRPr lang="ru-RU"/>
          </a:p>
        </p:txBody>
      </p:sp>
    </p:spTree>
    <p:extLst>
      <p:ext uri="{BB962C8B-B14F-4D97-AF65-F5344CB8AC3E}">
        <p14:creationId xmlns:p14="http://schemas.microsoft.com/office/powerpoint/2010/main" val="22560381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fld id="{C4E59F30-CB30-432B-A487-7A1F7A0DF1A7}" type="slidenum">
              <a:rPr lang="ru-RU" altLang="ru-RU">
                <a:solidFill>
                  <a:srgbClr val="000000"/>
                </a:solidFill>
                <a:latin typeface="Calibri" pitchFamily="34" charset="0"/>
              </a:rPr>
              <a:pPr/>
              <a:t>28</a:t>
            </a:fld>
            <a:endParaRPr lang="ru-RU" altLang="ru-RU">
              <a:solidFill>
                <a:srgbClr val="000000"/>
              </a:solidFill>
              <a:latin typeface="Calibri" pitchFamily="34" charset="0"/>
            </a:endParaRPr>
          </a:p>
        </p:txBody>
      </p:sp>
      <p:sp>
        <p:nvSpPr>
          <p:cNvPr id="293891"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fontAlgn="base">
              <a:spcBef>
                <a:spcPct val="0"/>
              </a:spcBef>
              <a:spcAft>
                <a:spcPct val="0"/>
              </a:spcAft>
            </a:pPr>
            <a:fld id="{CF7E2DB4-1381-492E-B0AE-E89BB5C1B16E}" type="slidenum">
              <a:rPr lang="ru-RU" altLang="ru-RU" smtClean="0">
                <a:solidFill>
                  <a:srgbClr val="000000"/>
                </a:solidFill>
                <a:latin typeface="Calibri" pitchFamily="34" charset="0"/>
              </a:rPr>
              <a:pPr algn="r" fontAlgn="base">
                <a:spcBef>
                  <a:spcPct val="0"/>
                </a:spcBef>
                <a:spcAft>
                  <a:spcPct val="0"/>
                </a:spcAft>
              </a:pPr>
              <a:t>28</a:t>
            </a:fld>
            <a:endParaRPr lang="ru-RU" altLang="ru-RU" smtClean="0">
              <a:solidFill>
                <a:srgbClr val="000000"/>
              </a:solidFill>
              <a:latin typeface="Calibri" pitchFamily="34" charset="0"/>
            </a:endParaRPr>
          </a:p>
        </p:txBody>
      </p:sp>
      <p:sp>
        <p:nvSpPr>
          <p:cNvPr id="29389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fontAlgn="base">
              <a:spcBef>
                <a:spcPct val="0"/>
              </a:spcBef>
              <a:spcAft>
                <a:spcPct val="0"/>
              </a:spcAft>
            </a:pPr>
            <a:fld id="{5A976854-5DFE-4D5B-BF50-BF40B4E1657E}" type="slidenum">
              <a:rPr lang="ru-RU" altLang="ru-RU" smtClean="0">
                <a:solidFill>
                  <a:srgbClr val="000000"/>
                </a:solidFill>
                <a:latin typeface="Calibri" pitchFamily="34" charset="0"/>
              </a:rPr>
              <a:pPr algn="r" fontAlgn="base">
                <a:spcBef>
                  <a:spcPct val="0"/>
                </a:spcBef>
                <a:spcAft>
                  <a:spcPct val="0"/>
                </a:spcAft>
              </a:pPr>
              <a:t>28</a:t>
            </a:fld>
            <a:endParaRPr lang="ru-RU" altLang="ru-RU" smtClean="0">
              <a:solidFill>
                <a:srgbClr val="000000"/>
              </a:solidFill>
              <a:latin typeface="Calibri" pitchFamily="34" charset="0"/>
            </a:endParaRPr>
          </a:p>
        </p:txBody>
      </p:sp>
      <p:sp>
        <p:nvSpPr>
          <p:cNvPr id="293893" name="Rectangle 2"/>
          <p:cNvSpPr>
            <a:spLocks noGrp="1" noRot="1" noChangeAspect="1" noChangeArrowheads="1" noTextEdit="1"/>
          </p:cNvSpPr>
          <p:nvPr>
            <p:ph type="sldImg"/>
          </p:nvPr>
        </p:nvSpPr>
        <p:spPr>
          <a:xfrm>
            <a:off x="381000" y="685800"/>
            <a:ext cx="6096000" cy="3429000"/>
          </a:xfrm>
          <a:ln/>
        </p:spPr>
      </p:sp>
      <p:sp>
        <p:nvSpPr>
          <p:cNvPr id="29389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ru-RU" altLang="ru-RU" smtClean="0"/>
          </a:p>
        </p:txBody>
      </p:sp>
    </p:spTree>
    <p:extLst>
      <p:ext uri="{BB962C8B-B14F-4D97-AF65-F5344CB8AC3E}">
        <p14:creationId xmlns:p14="http://schemas.microsoft.com/office/powerpoint/2010/main" val="1746185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Образ слайда 1"/>
          <p:cNvSpPr>
            <a:spLocks noGrp="1" noRot="1" noChangeAspect="1" noTextEdit="1"/>
          </p:cNvSpPr>
          <p:nvPr>
            <p:ph type="sldImg"/>
          </p:nvPr>
        </p:nvSpPr>
        <p:spPr>
          <a:xfrm>
            <a:off x="381000" y="685800"/>
            <a:ext cx="6096000" cy="3429000"/>
          </a:xfrm>
          <a:ln/>
        </p:spPr>
      </p:sp>
      <p:sp>
        <p:nvSpPr>
          <p:cNvPr id="278531" name="Заметки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ru-RU" altLang="ru-RU" smtClean="0"/>
              <a:t>Инфекционные болезни остаются одной из ведущих причин смертности на Земле. Из 52 млн смертей, регистрируемых ежегодно, 17 млн обусловлены инфекциями (в России в 1996 г., по данным Министерства здравоохранения РФ было зарегистрировано 30 млн случаев инфекционных заболеваний. Ущерб от этих инфекций составил 30 миллиардов неденоминированных рублей.) Из них 12 млн приходятся на детей, при этом 4 млн связаны с инфекциями, которые могли бы быть предупреждены или давно используемыми вакцинами (против кори, столбняка, краснухи и др.), или вакцинами, предложенными недавно для профилактики вирусного гепатита В и гемофильной инфекции типа В. </a:t>
            </a:r>
          </a:p>
        </p:txBody>
      </p:sp>
      <p:sp>
        <p:nvSpPr>
          <p:cNvPr id="278532" name="Номер слайда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fld id="{9282C0DB-AB70-4723-877F-30C53DAF8744}" type="slidenum">
              <a:rPr lang="ru-RU" altLang="ru-RU">
                <a:solidFill>
                  <a:prstClr val="black"/>
                </a:solidFill>
              </a:rPr>
              <a:pPr/>
              <a:t>4</a:t>
            </a:fld>
            <a:endParaRPr lang="ru-RU" altLang="ru-RU">
              <a:solidFill>
                <a:prstClr val="black"/>
              </a:solidFill>
            </a:endParaRPr>
          </a:p>
        </p:txBody>
      </p:sp>
    </p:spTree>
    <p:extLst>
      <p:ext uri="{BB962C8B-B14F-4D97-AF65-F5344CB8AC3E}">
        <p14:creationId xmlns:p14="http://schemas.microsoft.com/office/powerpoint/2010/main" val="4221579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fld id="{3FE12B0C-1FBE-4078-AEAA-3C2A333CA7EC}" type="slidenum">
              <a:rPr lang="ru-RU" altLang="ru-RU">
                <a:solidFill>
                  <a:srgbClr val="000000"/>
                </a:solidFill>
                <a:latin typeface="Calibri" pitchFamily="34" charset="0"/>
              </a:rPr>
              <a:pPr/>
              <a:t>6</a:t>
            </a:fld>
            <a:endParaRPr lang="ru-RU" altLang="ru-RU">
              <a:solidFill>
                <a:srgbClr val="000000"/>
              </a:solidFill>
              <a:latin typeface="Calibri" pitchFamily="34" charset="0"/>
            </a:endParaRPr>
          </a:p>
        </p:txBody>
      </p:sp>
      <p:sp>
        <p:nvSpPr>
          <p:cNvPr id="279555"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fontAlgn="base">
              <a:spcBef>
                <a:spcPct val="0"/>
              </a:spcBef>
              <a:spcAft>
                <a:spcPct val="0"/>
              </a:spcAft>
            </a:pPr>
            <a:fld id="{592BEAC4-1097-420C-86B8-456B391AEBCE}" type="slidenum">
              <a:rPr lang="ru-RU" altLang="ru-RU" smtClean="0">
                <a:solidFill>
                  <a:srgbClr val="000000"/>
                </a:solidFill>
                <a:latin typeface="Calibri" pitchFamily="34" charset="0"/>
              </a:rPr>
              <a:pPr algn="r" fontAlgn="base">
                <a:spcBef>
                  <a:spcPct val="0"/>
                </a:spcBef>
                <a:spcAft>
                  <a:spcPct val="0"/>
                </a:spcAft>
              </a:pPr>
              <a:t>6</a:t>
            </a:fld>
            <a:endParaRPr lang="ru-RU" altLang="ru-RU" smtClean="0">
              <a:solidFill>
                <a:srgbClr val="000000"/>
              </a:solidFill>
              <a:latin typeface="Calibri" pitchFamily="34" charset="0"/>
            </a:endParaRPr>
          </a:p>
        </p:txBody>
      </p:sp>
      <p:sp>
        <p:nvSpPr>
          <p:cNvPr id="27955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lgn="r" fontAlgn="base">
              <a:spcBef>
                <a:spcPct val="0"/>
              </a:spcBef>
              <a:spcAft>
                <a:spcPct val="0"/>
              </a:spcAft>
            </a:pPr>
            <a:fld id="{FBA883A2-4A52-4C28-9B98-33104985200F}" type="slidenum">
              <a:rPr lang="ru-RU" altLang="ru-RU" smtClean="0">
                <a:solidFill>
                  <a:srgbClr val="000000"/>
                </a:solidFill>
                <a:latin typeface="Calibri" pitchFamily="34" charset="0"/>
              </a:rPr>
              <a:pPr algn="r" fontAlgn="base">
                <a:spcBef>
                  <a:spcPct val="0"/>
                </a:spcBef>
                <a:spcAft>
                  <a:spcPct val="0"/>
                </a:spcAft>
              </a:pPr>
              <a:t>6</a:t>
            </a:fld>
            <a:endParaRPr lang="ru-RU" altLang="ru-RU" smtClean="0">
              <a:solidFill>
                <a:srgbClr val="000000"/>
              </a:solidFill>
              <a:latin typeface="Calibri" pitchFamily="34" charset="0"/>
            </a:endParaRPr>
          </a:p>
        </p:txBody>
      </p:sp>
      <p:sp>
        <p:nvSpPr>
          <p:cNvPr id="279557" name="Rectangle 2"/>
          <p:cNvSpPr>
            <a:spLocks noGrp="1" noRot="1" noChangeAspect="1" noChangeArrowheads="1" noTextEdit="1"/>
          </p:cNvSpPr>
          <p:nvPr>
            <p:ph type="sldImg"/>
          </p:nvPr>
        </p:nvSpPr>
        <p:spPr>
          <a:xfrm>
            <a:off x="381000" y="685800"/>
            <a:ext cx="6096000" cy="3429000"/>
          </a:xfrm>
          <a:ln/>
        </p:spPr>
      </p:sp>
      <p:sp>
        <p:nvSpPr>
          <p:cNvPr id="27955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ru-RU" altLang="ru-RU" smtClean="0"/>
          </a:p>
        </p:txBody>
      </p:sp>
    </p:spTree>
    <p:extLst>
      <p:ext uri="{BB962C8B-B14F-4D97-AF65-F5344CB8AC3E}">
        <p14:creationId xmlns:p14="http://schemas.microsoft.com/office/powerpoint/2010/main" val="1432445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fld id="{E484ACC7-0E29-424F-B624-7DB636C81FB3}" type="slidenum">
              <a:rPr lang="ru-RU" altLang="ru-RU">
                <a:solidFill>
                  <a:srgbClr val="000000"/>
                </a:solidFill>
              </a:rPr>
              <a:pPr/>
              <a:t>8</a:t>
            </a:fld>
            <a:endParaRPr lang="ru-RU" altLang="ru-RU">
              <a:solidFill>
                <a:srgbClr val="000000"/>
              </a:solidFill>
            </a:endParaRPr>
          </a:p>
        </p:txBody>
      </p:sp>
      <p:sp>
        <p:nvSpPr>
          <p:cNvPr id="280579" name="Rectangle 2"/>
          <p:cNvSpPr>
            <a:spLocks noGrp="1" noRot="1" noChangeAspect="1" noChangeArrowheads="1" noTextEdit="1"/>
          </p:cNvSpPr>
          <p:nvPr>
            <p:ph type="sldImg"/>
          </p:nvPr>
        </p:nvSpPr>
        <p:spPr>
          <a:xfrm>
            <a:off x="384175" y="687388"/>
            <a:ext cx="6089650" cy="3425825"/>
          </a:xfrm>
          <a:ln w="12700" cap="flat"/>
        </p:spPr>
      </p:sp>
      <p:sp>
        <p:nvSpPr>
          <p:cNvPr id="280580" name="Rectangle 3"/>
          <p:cNvSpPr>
            <a:spLocks noGrp="1" noChangeArrowheads="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p>
            <a:pPr eaLnBrk="1" hangingPunct="1"/>
            <a:endParaRPr lang="en-US" altLang="ru-RU" smtClean="0"/>
          </a:p>
        </p:txBody>
      </p:sp>
    </p:spTree>
    <p:extLst>
      <p:ext uri="{BB962C8B-B14F-4D97-AF65-F5344CB8AC3E}">
        <p14:creationId xmlns:p14="http://schemas.microsoft.com/office/powerpoint/2010/main" val="2662573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fld id="{37A6E301-5B6A-4C28-A55B-538B88C937CA}" type="slidenum">
              <a:rPr lang="ru-RU" altLang="ru-RU">
                <a:solidFill>
                  <a:prstClr val="black"/>
                </a:solidFill>
              </a:rPr>
              <a:pPr/>
              <a:t>11</a:t>
            </a:fld>
            <a:endParaRPr lang="ru-RU" altLang="ru-RU">
              <a:solidFill>
                <a:prstClr val="black"/>
              </a:solidFill>
            </a:endParaRPr>
          </a:p>
        </p:txBody>
      </p:sp>
      <p:sp>
        <p:nvSpPr>
          <p:cNvPr id="281603" name="Rectangle 2"/>
          <p:cNvSpPr>
            <a:spLocks noGrp="1" noRot="1" noChangeAspect="1" noChangeArrowheads="1" noTextEdit="1"/>
          </p:cNvSpPr>
          <p:nvPr>
            <p:ph type="sldImg"/>
          </p:nvPr>
        </p:nvSpPr>
        <p:spPr>
          <a:xfrm>
            <a:off x="581025" y="798513"/>
            <a:ext cx="5692775" cy="3203575"/>
          </a:xfrm>
          <a:ln/>
        </p:spPr>
      </p:sp>
      <p:sp>
        <p:nvSpPr>
          <p:cNvPr id="281604" name="Rectangle 3"/>
          <p:cNvSpPr>
            <a:spLocks noGrp="1" noChangeArrowheads="1"/>
          </p:cNvSpPr>
          <p:nvPr>
            <p:ph type="body" idx="1"/>
          </p:nvPr>
        </p:nvSpPr>
        <p:spPr>
          <a:xfrm>
            <a:off x="912813" y="4346575"/>
            <a:ext cx="5030787" cy="38496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ru-RU" smtClean="0"/>
          </a:p>
        </p:txBody>
      </p:sp>
    </p:spTree>
    <p:extLst>
      <p:ext uri="{BB962C8B-B14F-4D97-AF65-F5344CB8AC3E}">
        <p14:creationId xmlns:p14="http://schemas.microsoft.com/office/powerpoint/2010/main" val="35653251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fld id="{E4DFE8CF-C790-4933-8DD1-E32ECD5EEA2F}" type="slidenum">
              <a:rPr lang="ru-RU" altLang="ru-RU">
                <a:solidFill>
                  <a:srgbClr val="000000"/>
                </a:solidFill>
              </a:rPr>
              <a:pPr/>
              <a:t>13</a:t>
            </a:fld>
            <a:endParaRPr lang="ru-RU" altLang="ru-RU">
              <a:solidFill>
                <a:srgbClr val="000000"/>
              </a:solidFill>
            </a:endParaRPr>
          </a:p>
        </p:txBody>
      </p:sp>
      <p:sp>
        <p:nvSpPr>
          <p:cNvPr id="283651" name="Rectangle 2"/>
          <p:cNvSpPr>
            <a:spLocks noGrp="1" noRot="1" noChangeAspect="1" noChangeArrowheads="1" noTextEdit="1"/>
          </p:cNvSpPr>
          <p:nvPr>
            <p:ph type="sldImg"/>
          </p:nvPr>
        </p:nvSpPr>
        <p:spPr>
          <a:xfrm>
            <a:off x="393700" y="692150"/>
            <a:ext cx="6072188" cy="3416300"/>
          </a:xfrm>
          <a:ln/>
        </p:spPr>
      </p:sp>
      <p:sp>
        <p:nvSpPr>
          <p:cNvPr id="283652" name="Rectangle 3"/>
          <p:cNvSpPr>
            <a:spLocks noGrp="1" noChangeArrowheads="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eaLnBrk="1" hangingPunct="1"/>
            <a:r>
              <a:rPr lang="ru-RU" altLang="ru-RU" smtClean="0"/>
              <a:t>Инфанрикс является комбинированной вакциной для профилактики коклюша, дифтерии и столбняка с бесклеточным коклюшным компонентом.</a:t>
            </a:r>
          </a:p>
          <a:p>
            <a:pPr marL="228600" indent="-228600" eaLnBrk="1" hangingPunct="1"/>
            <a:r>
              <a:rPr lang="ru-RU" altLang="ru-RU" smtClean="0"/>
              <a:t>Прежде всего, давайте рассмотрим эпидемиологию каждого предотвращаемого Инфанриксом заболевания.</a:t>
            </a:r>
          </a:p>
          <a:p>
            <a:pPr marL="228600" indent="-228600" eaLnBrk="1" hangingPunct="1"/>
            <a:r>
              <a:rPr lang="ru-RU" altLang="ru-RU" smtClean="0"/>
              <a:t>Дифтерия является высококонтагиозной респираторной инфекцией, вызываемой неподвижной неспорообразующей грам-положительной бактерией </a:t>
            </a:r>
            <a:r>
              <a:rPr lang="en-US" altLang="ru-RU" i="1" smtClean="0"/>
              <a:t>Corynebacterium diphtheriae</a:t>
            </a:r>
            <a:r>
              <a:rPr lang="ru-RU" altLang="ru-RU" i="1" smtClean="0"/>
              <a:t>.  </a:t>
            </a:r>
            <a:r>
              <a:rPr lang="ru-RU" altLang="ru-RU" smtClean="0"/>
              <a:t>Человек является единственным естественным хозяином коринебактерии дифтерии, передаваемой воздушно-капельным путем и с экссудатом (выпотом) инфицированных кожных повреждений. </a:t>
            </a:r>
            <a:r>
              <a:rPr lang="ru-RU" altLang="ru-RU" b="1" baseline="30000" smtClean="0">
                <a:solidFill>
                  <a:srgbClr val="257557"/>
                </a:solidFill>
              </a:rPr>
              <a:t>1 </a:t>
            </a:r>
            <a:r>
              <a:rPr lang="ru-RU" altLang="ru-RU" b="1" smtClean="0">
                <a:solidFill>
                  <a:srgbClr val="257557"/>
                </a:solidFill>
              </a:rPr>
              <a:t> </a:t>
            </a:r>
          </a:p>
          <a:p>
            <a:pPr marL="228600" indent="-228600" eaLnBrk="1" hangingPunct="1"/>
            <a:r>
              <a:rPr lang="ru-RU" altLang="ru-RU" smtClean="0">
                <a:solidFill>
                  <a:srgbClr val="257557"/>
                </a:solidFill>
              </a:rPr>
              <a:t>Дифтерия обычно сопровождается тонзиллитом, фарингитом и ларингитом, а у взрослых и в условиях влажного климата также могут возникать кожные поражения. </a:t>
            </a:r>
            <a:r>
              <a:rPr lang="ru-RU" altLang="ru-RU" smtClean="0"/>
              <a:t>Наиболее высокая смертность наблюдается в детском возрасте и у пожилых </a:t>
            </a:r>
            <a:r>
              <a:rPr lang="ru-RU" altLang="ru-RU" b="1" baseline="30000" smtClean="0">
                <a:solidFill>
                  <a:srgbClr val="257557"/>
                </a:solidFill>
              </a:rPr>
              <a:t>1</a:t>
            </a:r>
            <a:r>
              <a:rPr lang="en-GB" altLang="ru-RU" b="1" baseline="30000" smtClean="0">
                <a:solidFill>
                  <a:srgbClr val="257557"/>
                </a:solidFill>
              </a:rPr>
              <a:t>,</a:t>
            </a:r>
            <a:r>
              <a:rPr lang="ru-RU" altLang="ru-RU" b="1" baseline="30000" smtClean="0">
                <a:solidFill>
                  <a:srgbClr val="257557"/>
                </a:solidFill>
              </a:rPr>
              <a:t>2</a:t>
            </a:r>
          </a:p>
          <a:p>
            <a:pPr marL="228600" indent="-228600" eaLnBrk="1" hangingPunct="1"/>
            <a:r>
              <a:rPr lang="ru-RU" altLang="ru-RU" smtClean="0">
                <a:solidFill>
                  <a:srgbClr val="257557"/>
                </a:solidFill>
              </a:rPr>
              <a:t>Количество случаев дифтерии было значительно снижено в индустриальных странах вследствие введения рутинной иммунизации в 40х и 50х гг. </a:t>
            </a:r>
            <a:r>
              <a:rPr lang="en-US" altLang="ru-RU" smtClean="0">
                <a:solidFill>
                  <a:srgbClr val="257557"/>
                </a:solidFill>
              </a:rPr>
              <a:t>XX</a:t>
            </a:r>
            <a:r>
              <a:rPr lang="ru-RU" altLang="ru-RU" smtClean="0">
                <a:solidFill>
                  <a:srgbClr val="257557"/>
                </a:solidFill>
              </a:rPr>
              <a:t> века</a:t>
            </a:r>
            <a:r>
              <a:rPr lang="en-US" altLang="ru-RU" smtClean="0">
                <a:solidFill>
                  <a:srgbClr val="257557"/>
                </a:solidFill>
              </a:rPr>
              <a:t>.</a:t>
            </a:r>
            <a:r>
              <a:rPr lang="ru-RU" altLang="ru-RU" smtClean="0">
                <a:solidFill>
                  <a:srgbClr val="257557"/>
                </a:solidFill>
              </a:rPr>
              <a:t> Однако, недавние вспышки дифтерии подчеркнули необходимость поддержания высокого уровня антител к </a:t>
            </a:r>
            <a:r>
              <a:rPr lang="en-US" altLang="ru-RU" i="1" smtClean="0"/>
              <a:t>C</a:t>
            </a:r>
            <a:r>
              <a:rPr lang="ru-RU" altLang="ru-RU" i="1" smtClean="0"/>
              <a:t>.</a:t>
            </a:r>
            <a:r>
              <a:rPr lang="en-US" altLang="ru-RU" i="1" smtClean="0"/>
              <a:t> diphtheriae</a:t>
            </a:r>
            <a:r>
              <a:rPr lang="ru-RU" altLang="ru-RU" smtClean="0"/>
              <a:t>  путем бустерной вакцинации.</a:t>
            </a:r>
            <a:r>
              <a:rPr lang="en-US" altLang="ru-RU" smtClean="0"/>
              <a:t>³</a:t>
            </a:r>
            <a:endParaRPr lang="ru-RU" altLang="ru-RU" smtClean="0"/>
          </a:p>
          <a:p>
            <a:pPr marL="228600" indent="-228600" eaLnBrk="1" hangingPunct="1"/>
            <a:r>
              <a:rPr lang="ru-RU" altLang="ru-RU" smtClean="0"/>
              <a:t>Литература:</a:t>
            </a:r>
          </a:p>
          <a:p>
            <a:pPr marL="228600" indent="-228600" eaLnBrk="1" hangingPunct="1">
              <a:buFontTx/>
              <a:buAutoNum type="arabicPeriod"/>
            </a:pPr>
            <a:r>
              <a:rPr lang="en-US" altLang="ru-RU" smtClean="0">
                <a:solidFill>
                  <a:srgbClr val="257557"/>
                </a:solidFill>
              </a:rPr>
              <a:t>Bethell DB &amp; Hien TT 2003. Diphtheria. In: Warrel DA, Weatherall DJ, Cox TM, Firth JD, DA eds. Oxford Textbook of Medicine. 4 edn. Oxford, Oxford University Pres: 2003:453-6.</a:t>
            </a:r>
          </a:p>
          <a:p>
            <a:pPr marL="228600" indent="-228600" eaLnBrk="1" hangingPunct="1">
              <a:buFontTx/>
              <a:buAutoNum type="arabicPeriod"/>
            </a:pPr>
            <a:r>
              <a:rPr lang="en-US" altLang="ru-RU" smtClean="0">
                <a:solidFill>
                  <a:srgbClr val="257557"/>
                </a:solidFill>
              </a:rPr>
              <a:t>CDC. Diphtheria. In: Epidemiology and Prevention of Vaccine-Preventable Disease. 8 edn. Atlanta: US Centers for Disease Control and Prevention, 2005: 55-64.</a:t>
            </a:r>
          </a:p>
          <a:p>
            <a:pPr marL="228600" indent="-228600" eaLnBrk="1" hangingPunct="1">
              <a:buFontTx/>
              <a:buAutoNum type="arabicPeriod"/>
            </a:pPr>
            <a:r>
              <a:rPr lang="en-US" altLang="ru-RU" smtClean="0">
                <a:solidFill>
                  <a:srgbClr val="257557"/>
                </a:solidFill>
              </a:rPr>
              <a:t>Evaluation of measures for poliomyelitis eradication and diphtheria control. Report on a WHO meeting. 3-5 June 1996, Berlin, Germany</a:t>
            </a:r>
          </a:p>
          <a:p>
            <a:pPr marL="228600" indent="-228600" eaLnBrk="1" hangingPunct="1">
              <a:buFontTx/>
              <a:buAutoNum type="arabicPeriod"/>
            </a:pPr>
            <a:endParaRPr lang="en-US" altLang="ru-RU" smtClean="0">
              <a:solidFill>
                <a:srgbClr val="257557"/>
              </a:solidFill>
            </a:endParaRPr>
          </a:p>
          <a:p>
            <a:pPr marL="228600" indent="-228600" eaLnBrk="1" hangingPunct="1"/>
            <a:endParaRPr lang="en-US" altLang="ru-RU" smtClean="0"/>
          </a:p>
        </p:txBody>
      </p:sp>
    </p:spTree>
    <p:extLst>
      <p:ext uri="{BB962C8B-B14F-4D97-AF65-F5344CB8AC3E}">
        <p14:creationId xmlns:p14="http://schemas.microsoft.com/office/powerpoint/2010/main" val="31851406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TextShape 1"/>
          <p:cNvSpPr txBox="1">
            <a:spLocks noChangeArrowheads="1"/>
          </p:cNvSpPr>
          <p:nvPr/>
        </p:nvSpPr>
        <p:spPr bwMode="auto">
          <a:xfrm>
            <a:off x="3884613" y="8685213"/>
            <a:ext cx="2971800"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fontAlgn="base">
              <a:spcBef>
                <a:spcPct val="0"/>
              </a:spcBef>
              <a:spcAft>
                <a:spcPct val="0"/>
              </a:spcAft>
            </a:pPr>
            <a:fld id="{2C743DEB-FBBB-4136-BFCC-CCDF57390FE2}" type="slidenum">
              <a:rPr lang="ru-RU" altLang="ru-RU" sz="2400" b="1" i="1" smtClean="0">
                <a:solidFill>
                  <a:srgbClr val="000066"/>
                </a:solidFill>
              </a:rPr>
              <a:pPr fontAlgn="base">
                <a:spcBef>
                  <a:spcPct val="0"/>
                </a:spcBef>
                <a:spcAft>
                  <a:spcPct val="0"/>
                </a:spcAft>
              </a:pPr>
              <a:t>15</a:t>
            </a:fld>
            <a:endParaRPr lang="ru-RU" altLang="ru-RU" sz="2000" smtClean="0">
              <a:solidFill>
                <a:srgbClr val="000000"/>
              </a:solidFill>
            </a:endParaRPr>
          </a:p>
        </p:txBody>
      </p:sp>
      <p:sp>
        <p:nvSpPr>
          <p:cNvPr id="284675" name="CustomShape 2"/>
          <p:cNvSpPr>
            <a:spLocks noChangeArrowheads="1"/>
          </p:cNvSpPr>
          <p:nvPr/>
        </p:nvSpPr>
        <p:spPr bwMode="auto">
          <a:xfrm>
            <a:off x="-11798300" y="-11796713"/>
            <a:ext cx="11796712" cy="12490451"/>
          </a:xfrm>
          <a:prstGeom prst="rect">
            <a:avLst/>
          </a:prstGeom>
          <a:solidFill>
            <a:srgbClr val="FFFFFF"/>
          </a:solidFill>
          <a:ln w="9360">
            <a:solidFill>
              <a:srgbClr val="000000"/>
            </a:solidFill>
            <a:miter lim="800000"/>
            <a:headEnd/>
            <a:tailEnd/>
          </a:ln>
        </p:spPr>
        <p:txBody>
          <a:bodyPr/>
          <a:lstStyle/>
          <a:p>
            <a:pPr fontAlgn="base">
              <a:spcBef>
                <a:spcPct val="0"/>
              </a:spcBef>
              <a:spcAft>
                <a:spcPct val="0"/>
              </a:spcAft>
            </a:pPr>
            <a:endParaRPr lang="ru-RU" altLang="ru-RU" sz="2000" smtClean="0">
              <a:solidFill>
                <a:srgbClr val="000000"/>
              </a:solidFill>
              <a:latin typeface="Arial" pitchFamily="34" charset="0"/>
              <a:cs typeface="Arial" pitchFamily="34" charset="0"/>
            </a:endParaRPr>
          </a:p>
        </p:txBody>
      </p:sp>
      <p:sp>
        <p:nvSpPr>
          <p:cNvPr id="284676" name="PlaceHolder 3"/>
          <p:cNvSpPr>
            <a:spLocks noGrp="1"/>
          </p:cNvSpPr>
          <p:nvPr>
            <p:ph type="body"/>
          </p:nvPr>
        </p:nvSpPr>
        <p:spPr>
          <a:xfrm>
            <a:off x="685800" y="4343400"/>
            <a:ext cx="5481638" cy="41116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ru-RU" altLang="ru-RU" smtClean="0"/>
          </a:p>
        </p:txBody>
      </p:sp>
    </p:spTree>
    <p:extLst>
      <p:ext uri="{BB962C8B-B14F-4D97-AF65-F5344CB8AC3E}">
        <p14:creationId xmlns:p14="http://schemas.microsoft.com/office/powerpoint/2010/main" val="21489336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8" name="TextShape 1"/>
          <p:cNvSpPr txBox="1">
            <a:spLocks noChangeArrowheads="1"/>
          </p:cNvSpPr>
          <p:nvPr/>
        </p:nvSpPr>
        <p:spPr bwMode="auto">
          <a:xfrm>
            <a:off x="3884613" y="8685213"/>
            <a:ext cx="2971800"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defTabSz="457200">
              <a:defRPr sz="1200">
                <a:solidFill>
                  <a:schemeClr val="tx1"/>
                </a:solidFill>
                <a:latin typeface="Arial" pitchFamily="34" charset="0"/>
                <a:cs typeface="Arial" pitchFamily="34" charset="0"/>
              </a:defRPr>
            </a:lvl1pPr>
            <a:lvl2pPr marL="742950" indent="-285750" defTabSz="457200">
              <a:defRPr sz="1200">
                <a:solidFill>
                  <a:schemeClr val="tx1"/>
                </a:solidFill>
                <a:latin typeface="Arial" pitchFamily="34" charset="0"/>
                <a:cs typeface="Arial" pitchFamily="34" charset="0"/>
              </a:defRPr>
            </a:lvl2pPr>
            <a:lvl3pPr marL="1143000" indent="-228600" defTabSz="457200">
              <a:defRPr sz="1200">
                <a:solidFill>
                  <a:schemeClr val="tx1"/>
                </a:solidFill>
                <a:latin typeface="Arial" pitchFamily="34" charset="0"/>
                <a:cs typeface="Arial" pitchFamily="34" charset="0"/>
              </a:defRPr>
            </a:lvl3pPr>
            <a:lvl4pPr marL="1600200" indent="-228600" defTabSz="457200">
              <a:defRPr sz="1200">
                <a:solidFill>
                  <a:schemeClr val="tx1"/>
                </a:solidFill>
                <a:latin typeface="Arial" pitchFamily="34" charset="0"/>
                <a:cs typeface="Arial" pitchFamily="34" charset="0"/>
              </a:defRPr>
            </a:lvl4pPr>
            <a:lvl5pPr marL="2057400" indent="-228600" defTabSz="457200">
              <a:defRPr sz="1200">
                <a:solidFill>
                  <a:schemeClr val="tx1"/>
                </a:solidFill>
                <a:latin typeface="Arial" pitchFamily="34" charset="0"/>
                <a:cs typeface="Arial" pitchFamily="34" charset="0"/>
              </a:defRPr>
            </a:lvl5pPr>
            <a:lvl6pPr marL="2514600" indent="-228600" defTabSz="4572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4572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4572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457200" eaLnBrk="0" fontAlgn="base" hangingPunct="0">
              <a:spcBef>
                <a:spcPct val="30000"/>
              </a:spcBef>
              <a:spcAft>
                <a:spcPct val="0"/>
              </a:spcAft>
              <a:defRPr sz="1200">
                <a:solidFill>
                  <a:schemeClr val="tx1"/>
                </a:solidFill>
                <a:latin typeface="Arial" pitchFamily="34" charset="0"/>
                <a:cs typeface="Arial" pitchFamily="34" charset="0"/>
              </a:defRPr>
            </a:lvl9pPr>
          </a:lstStyle>
          <a:p>
            <a:pPr fontAlgn="base">
              <a:spcBef>
                <a:spcPct val="0"/>
              </a:spcBef>
              <a:spcAft>
                <a:spcPct val="0"/>
              </a:spcAft>
            </a:pPr>
            <a:fld id="{BEED83D2-0E2F-4AD9-90CA-968EC5E8830D}" type="slidenum">
              <a:rPr lang="ru-RU" altLang="ru-RU" sz="2400" b="1" i="1" smtClean="0">
                <a:solidFill>
                  <a:srgbClr val="000066"/>
                </a:solidFill>
              </a:rPr>
              <a:pPr fontAlgn="base">
                <a:spcBef>
                  <a:spcPct val="0"/>
                </a:spcBef>
                <a:spcAft>
                  <a:spcPct val="0"/>
                </a:spcAft>
              </a:pPr>
              <a:t>16</a:t>
            </a:fld>
            <a:endParaRPr lang="ru-RU" altLang="ru-RU" sz="1800" smtClean="0">
              <a:solidFill>
                <a:srgbClr val="000000"/>
              </a:solidFill>
              <a:latin typeface="Calibri" pitchFamily="34" charset="0"/>
            </a:endParaRPr>
          </a:p>
        </p:txBody>
      </p:sp>
      <p:sp>
        <p:nvSpPr>
          <p:cNvPr id="285699" name="CustomShape 2"/>
          <p:cNvSpPr>
            <a:spLocks noChangeArrowheads="1"/>
          </p:cNvSpPr>
          <p:nvPr/>
        </p:nvSpPr>
        <p:spPr bwMode="auto">
          <a:xfrm>
            <a:off x="1143000" y="677863"/>
            <a:ext cx="4572000" cy="3444875"/>
          </a:xfrm>
          <a:prstGeom prst="rect">
            <a:avLst/>
          </a:prstGeom>
          <a:solidFill>
            <a:srgbClr val="FFFFFF"/>
          </a:solidFill>
          <a:ln w="9360">
            <a:solidFill>
              <a:srgbClr val="000000"/>
            </a:solidFill>
            <a:miter lim="800000"/>
            <a:headEnd/>
            <a:tailEnd/>
          </a:ln>
        </p:spPr>
        <p:txBody>
          <a:bodyPr/>
          <a:lstStyle/>
          <a:p>
            <a:pPr fontAlgn="base">
              <a:spcBef>
                <a:spcPct val="0"/>
              </a:spcBef>
              <a:spcAft>
                <a:spcPct val="0"/>
              </a:spcAft>
            </a:pPr>
            <a:endParaRPr lang="ru-RU" altLang="ru-RU" sz="2000" smtClean="0">
              <a:solidFill>
                <a:prstClr val="black"/>
              </a:solidFill>
              <a:latin typeface="Arial" pitchFamily="34" charset="0"/>
              <a:cs typeface="Arial" pitchFamily="34" charset="0"/>
            </a:endParaRPr>
          </a:p>
        </p:txBody>
      </p:sp>
      <p:sp>
        <p:nvSpPr>
          <p:cNvPr id="285700" name="PlaceHolder 3"/>
          <p:cNvSpPr>
            <a:spLocks noGrp="1"/>
          </p:cNvSpPr>
          <p:nvPr>
            <p:ph type="body"/>
          </p:nvPr>
        </p:nvSpPr>
        <p:spPr>
          <a:xfrm>
            <a:off x="685800" y="4343400"/>
            <a:ext cx="5481638" cy="41116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ru-RU" altLang="ru-RU" smtClean="0"/>
          </a:p>
        </p:txBody>
      </p:sp>
    </p:spTree>
    <p:extLst>
      <p:ext uri="{BB962C8B-B14F-4D97-AF65-F5344CB8AC3E}">
        <p14:creationId xmlns:p14="http://schemas.microsoft.com/office/powerpoint/2010/main" val="4291960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86722" name="Rectangle 10"/>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cs typeface="Arial" pitchFamily="34" charset="0"/>
              </a:defRPr>
            </a:lvl1pPr>
            <a:lvl2pPr marL="742950" indent="-285750">
              <a:defRPr sz="1200">
                <a:solidFill>
                  <a:schemeClr val="tx1"/>
                </a:solidFill>
                <a:latin typeface="Arial" pitchFamily="34" charset="0"/>
                <a:cs typeface="Arial" pitchFamily="34" charset="0"/>
              </a:defRPr>
            </a:lvl2pPr>
            <a:lvl3pPr marL="1143000" indent="-228600">
              <a:defRPr sz="1200">
                <a:solidFill>
                  <a:schemeClr val="tx1"/>
                </a:solidFill>
                <a:latin typeface="Arial" pitchFamily="34" charset="0"/>
                <a:cs typeface="Arial" pitchFamily="34" charset="0"/>
              </a:defRPr>
            </a:lvl3pPr>
            <a:lvl4pPr marL="1600200" indent="-228600">
              <a:defRPr sz="1200">
                <a:solidFill>
                  <a:schemeClr val="tx1"/>
                </a:solidFill>
                <a:latin typeface="Arial" pitchFamily="34" charset="0"/>
                <a:cs typeface="Arial" pitchFamily="34" charset="0"/>
              </a:defRPr>
            </a:lvl4pPr>
            <a:lvl5pPr marL="2057400" indent="-228600">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fld id="{4FAE0D59-4087-490C-9051-401CFC07AE9D}" type="slidenum">
              <a:rPr lang="en-GB" altLang="ru-RU">
                <a:solidFill>
                  <a:srgbClr val="000000"/>
                </a:solidFill>
              </a:rPr>
              <a:pPr/>
              <a:t>17</a:t>
            </a:fld>
            <a:endParaRPr lang="en-GB" altLang="ru-RU">
              <a:solidFill>
                <a:srgbClr val="000000"/>
              </a:solidFill>
            </a:endParaRPr>
          </a:p>
        </p:txBody>
      </p:sp>
      <p:sp>
        <p:nvSpPr>
          <p:cNvPr id="286723" name="Text Box 1"/>
          <p:cNvSpPr txBox="1">
            <a:spLocks noChangeArrowheads="1"/>
          </p:cNvSpPr>
          <p:nvPr/>
        </p:nvSpPr>
        <p:spPr bwMode="auto">
          <a:xfrm>
            <a:off x="2143125" y="695325"/>
            <a:ext cx="2571750" cy="3429000"/>
          </a:xfrm>
          <a:prstGeom prst="rect">
            <a:avLst/>
          </a:prstGeom>
          <a:solidFill>
            <a:srgbClr val="FFFFFF"/>
          </a:solidFill>
          <a:ln w="9360">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defTabSz="457200">
              <a:defRPr sz="1200">
                <a:solidFill>
                  <a:schemeClr val="tx1"/>
                </a:solidFill>
                <a:latin typeface="Arial" pitchFamily="34" charset="0"/>
                <a:cs typeface="Arial" pitchFamily="34" charset="0"/>
              </a:defRPr>
            </a:lvl1pPr>
            <a:lvl2pPr marL="742950" indent="-285750" defTabSz="457200">
              <a:defRPr sz="1200">
                <a:solidFill>
                  <a:schemeClr val="tx1"/>
                </a:solidFill>
                <a:latin typeface="Arial" pitchFamily="34" charset="0"/>
                <a:cs typeface="Arial" pitchFamily="34" charset="0"/>
              </a:defRPr>
            </a:lvl2pPr>
            <a:lvl3pPr marL="1143000" indent="-228600" defTabSz="457200">
              <a:defRPr sz="1200">
                <a:solidFill>
                  <a:schemeClr val="tx1"/>
                </a:solidFill>
                <a:latin typeface="Arial" pitchFamily="34" charset="0"/>
                <a:cs typeface="Arial" pitchFamily="34" charset="0"/>
              </a:defRPr>
            </a:lvl3pPr>
            <a:lvl4pPr marL="1600200" indent="-228600" defTabSz="457200">
              <a:defRPr sz="1200">
                <a:solidFill>
                  <a:schemeClr val="tx1"/>
                </a:solidFill>
                <a:latin typeface="Arial" pitchFamily="34" charset="0"/>
                <a:cs typeface="Arial" pitchFamily="34" charset="0"/>
              </a:defRPr>
            </a:lvl4pPr>
            <a:lvl5pPr marL="2057400" indent="-228600" defTabSz="457200">
              <a:defRPr sz="1200">
                <a:solidFill>
                  <a:schemeClr val="tx1"/>
                </a:solidFill>
                <a:latin typeface="Arial" pitchFamily="34" charset="0"/>
                <a:cs typeface="Arial" pitchFamily="34" charset="0"/>
              </a:defRPr>
            </a:lvl5pPr>
            <a:lvl6pPr marL="2514600" indent="-228600" defTabSz="4572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4572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4572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457200" eaLnBrk="0" fontAlgn="base" hangingPunct="0">
              <a:spcBef>
                <a:spcPct val="30000"/>
              </a:spcBef>
              <a:spcAft>
                <a:spcPct val="0"/>
              </a:spcAft>
              <a:defRPr sz="1200">
                <a:solidFill>
                  <a:schemeClr val="tx1"/>
                </a:solidFill>
                <a:latin typeface="Arial" pitchFamily="34" charset="0"/>
                <a:cs typeface="Arial" pitchFamily="34" charset="0"/>
              </a:defRPr>
            </a:lvl9pPr>
          </a:lstStyle>
          <a:p>
            <a:pPr fontAlgn="base">
              <a:spcBef>
                <a:spcPct val="0"/>
              </a:spcBef>
              <a:spcAft>
                <a:spcPct val="0"/>
              </a:spcAft>
            </a:pPr>
            <a:endParaRPr lang="ru-RU" altLang="ru-RU" sz="1800" smtClean="0">
              <a:solidFill>
                <a:srgbClr val="000000"/>
              </a:solidFill>
              <a:latin typeface="Calibri" pitchFamily="34" charset="0"/>
            </a:endParaRPr>
          </a:p>
        </p:txBody>
      </p:sp>
      <p:sp>
        <p:nvSpPr>
          <p:cNvPr id="286724" name="Rectangle 2"/>
          <p:cNvSpPr>
            <a:spLocks noGrp="1" noChangeArrowheads="1"/>
          </p:cNvSpPr>
          <p:nvPr>
            <p:ph type="body"/>
          </p:nvPr>
        </p:nvSpPr>
        <p:spPr>
          <a:xfrm>
            <a:off x="685800" y="4343400"/>
            <a:ext cx="5481638" cy="41116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ru-RU" altLang="ru-RU" smtClean="0"/>
          </a:p>
        </p:txBody>
      </p:sp>
    </p:spTree>
    <p:extLst>
      <p:ext uri="{BB962C8B-B14F-4D97-AF65-F5344CB8AC3E}">
        <p14:creationId xmlns:p14="http://schemas.microsoft.com/office/powerpoint/2010/main" val="29611442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42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t>16.12.2021</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t>16.12.2021</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855769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9200068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75841280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317636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56797280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731542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4234238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99646014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71988638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1517523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639"/>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639"/>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t>16.12.2021</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97709593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27639512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4320335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72141919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16895616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8945661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2724546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65158724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3179942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423683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804958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844181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9314227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5325839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85387104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88912364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12659291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1008437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679470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39105609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5968459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55465414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8854524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5011500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411406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36747171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14612875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95195108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33386217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73237484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28978896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873064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4976367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3610825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23918045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0628041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053176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0762932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724413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00336469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26282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48004972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261954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2463839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5672325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4265190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54315364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72276609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96188032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7955911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32380658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37620548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8756696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4011727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25474838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2198778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04690172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80933629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102862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81755282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5601875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62832729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4116305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8995866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71992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8902198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034574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18976993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11841653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69668547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75114351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77539802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51013939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47052995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1805532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5235376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547237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79035677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81327282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94833417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3184507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46031033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38396616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05400132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3948486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653457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7676912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17681348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984704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14451721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141481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91989878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2458162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70849485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4257290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92673183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24297964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036673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t>16.12.2021</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21976556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05747104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34633004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62703198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2752209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73790614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11204775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3285871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5961807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92212265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4577777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22026693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3492718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69806873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74378753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99605213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99510828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22706792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72507966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1975323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85114164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7320369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55468374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6483453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26406599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53476278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17430919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12167983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73479899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96965496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35497090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27431887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265118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13311074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94745600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90333988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34023163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54821329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42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8FDF8117-9356-4935-A573-8EB4131422FC}" type="slidenum">
              <a:rPr lang="ru-RU"/>
              <a:pPr>
                <a:defRPr/>
              </a:pPr>
              <a:t>‹#›</a:t>
            </a:fld>
            <a:endParaRPr lang="ru-RU"/>
          </a:p>
        </p:txBody>
      </p:sp>
    </p:spTree>
    <p:extLst>
      <p:ext uri="{BB962C8B-B14F-4D97-AF65-F5344CB8AC3E}">
        <p14:creationId xmlns:p14="http://schemas.microsoft.com/office/powerpoint/2010/main" val="314776035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1E25FCB0-1948-430F-BA34-22CB24BBEFA4}" type="slidenum">
              <a:rPr lang="ru-RU"/>
              <a:pPr>
                <a:defRPr/>
              </a:pPr>
              <a:t>‹#›</a:t>
            </a:fld>
            <a:endParaRPr lang="ru-RU"/>
          </a:p>
        </p:txBody>
      </p:sp>
    </p:spTree>
    <p:extLst>
      <p:ext uri="{BB962C8B-B14F-4D97-AF65-F5344CB8AC3E}">
        <p14:creationId xmlns:p14="http://schemas.microsoft.com/office/powerpoint/2010/main" val="18046739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2864D5A9-8E3F-49C7-9F16-521E5321168A}" type="slidenum">
              <a:rPr lang="ru-RU"/>
              <a:pPr>
                <a:defRPr/>
              </a:pPr>
              <a:t>‹#›</a:t>
            </a:fld>
            <a:endParaRPr lang="ru-RU"/>
          </a:p>
        </p:txBody>
      </p:sp>
    </p:spTree>
    <p:extLst>
      <p:ext uri="{BB962C8B-B14F-4D97-AF65-F5344CB8AC3E}">
        <p14:creationId xmlns:p14="http://schemas.microsoft.com/office/powerpoint/2010/main" val="147237784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39BC0436-967A-4BDB-BE84-09AF291FB684}" type="slidenum">
              <a:rPr lang="ru-RU"/>
              <a:pPr>
                <a:defRPr/>
              </a:pPr>
              <a:t>‹#›</a:t>
            </a:fld>
            <a:endParaRPr lang="ru-RU"/>
          </a:p>
        </p:txBody>
      </p:sp>
    </p:spTree>
    <p:extLst>
      <p:ext uri="{BB962C8B-B14F-4D97-AF65-F5344CB8AC3E}">
        <p14:creationId xmlns:p14="http://schemas.microsoft.com/office/powerpoint/2010/main" val="291400795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p>
        </p:txBody>
      </p:sp>
      <p:sp>
        <p:nvSpPr>
          <p:cNvPr id="8" name="Rectangle 5"/>
          <p:cNvSpPr>
            <a:spLocks noGrp="1" noChangeArrowheads="1"/>
          </p:cNvSpPr>
          <p:nvPr>
            <p:ph type="ftr" sz="quarter" idx="11"/>
          </p:nvPr>
        </p:nvSpPr>
        <p:spPr>
          <a:ln/>
        </p:spPr>
        <p:txBody>
          <a:bodyPr/>
          <a:lstStyle>
            <a:lvl1pPr>
              <a:defRPr/>
            </a:lvl1pPr>
          </a:lstStyle>
          <a:p>
            <a:pPr>
              <a:defRPr/>
            </a:pPr>
            <a:endParaRPr lang="ru-RU"/>
          </a:p>
        </p:txBody>
      </p:sp>
      <p:sp>
        <p:nvSpPr>
          <p:cNvPr id="9" name="Rectangle 6"/>
          <p:cNvSpPr>
            <a:spLocks noGrp="1" noChangeArrowheads="1"/>
          </p:cNvSpPr>
          <p:nvPr>
            <p:ph type="sldNum" sz="quarter" idx="12"/>
          </p:nvPr>
        </p:nvSpPr>
        <p:spPr>
          <a:ln/>
        </p:spPr>
        <p:txBody>
          <a:bodyPr/>
          <a:lstStyle>
            <a:lvl1pPr>
              <a:defRPr/>
            </a:lvl1pPr>
          </a:lstStyle>
          <a:p>
            <a:pPr>
              <a:defRPr/>
            </a:pPr>
            <a:fld id="{A4B0AAC2-0DF9-4D46-944C-7CB009EAFB22}" type="slidenum">
              <a:rPr lang="ru-RU"/>
              <a:pPr>
                <a:defRPr/>
              </a:pPr>
              <a:t>‹#›</a:t>
            </a:fld>
            <a:endParaRPr lang="ru-RU"/>
          </a:p>
        </p:txBody>
      </p:sp>
    </p:spTree>
    <p:extLst>
      <p:ext uri="{BB962C8B-B14F-4D97-AF65-F5344CB8AC3E}">
        <p14:creationId xmlns:p14="http://schemas.microsoft.com/office/powerpoint/2010/main" val="55128223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724DD983-5448-4F37-A31F-5E0902CD0B93}" type="slidenum">
              <a:rPr lang="ru-RU"/>
              <a:pPr>
                <a:defRPr/>
              </a:pPr>
              <a:t>‹#›</a:t>
            </a:fld>
            <a:endParaRPr lang="ru-RU"/>
          </a:p>
        </p:txBody>
      </p:sp>
    </p:spTree>
    <p:extLst>
      <p:ext uri="{BB962C8B-B14F-4D97-AF65-F5344CB8AC3E}">
        <p14:creationId xmlns:p14="http://schemas.microsoft.com/office/powerpoint/2010/main" val="18937630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53173530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p>
        </p:txBody>
      </p:sp>
      <p:sp>
        <p:nvSpPr>
          <p:cNvPr id="3" name="Rectangle 5"/>
          <p:cNvSpPr>
            <a:spLocks noGrp="1" noChangeArrowheads="1"/>
          </p:cNvSpPr>
          <p:nvPr>
            <p:ph type="ftr" sz="quarter" idx="11"/>
          </p:nvPr>
        </p:nvSpPr>
        <p:spPr>
          <a:ln/>
        </p:spPr>
        <p:txBody>
          <a:bodyPr/>
          <a:lstStyle>
            <a:lvl1pPr>
              <a:defRPr/>
            </a:lvl1pPr>
          </a:lstStyle>
          <a:p>
            <a:pPr>
              <a:defRPr/>
            </a:pPr>
            <a:endParaRPr lang="ru-RU"/>
          </a:p>
        </p:txBody>
      </p:sp>
      <p:sp>
        <p:nvSpPr>
          <p:cNvPr id="4" name="Rectangle 6"/>
          <p:cNvSpPr>
            <a:spLocks noGrp="1" noChangeArrowheads="1"/>
          </p:cNvSpPr>
          <p:nvPr>
            <p:ph type="sldNum" sz="quarter" idx="12"/>
          </p:nvPr>
        </p:nvSpPr>
        <p:spPr>
          <a:ln/>
        </p:spPr>
        <p:txBody>
          <a:bodyPr/>
          <a:lstStyle>
            <a:lvl1pPr>
              <a:defRPr/>
            </a:lvl1pPr>
          </a:lstStyle>
          <a:p>
            <a:pPr>
              <a:defRPr/>
            </a:pPr>
            <a:fld id="{FCE39791-90E8-4EAF-AFC9-CF8EF39C556E}" type="slidenum">
              <a:rPr lang="ru-RU"/>
              <a:pPr>
                <a:defRPr/>
              </a:pPr>
              <a:t>‹#›</a:t>
            </a:fld>
            <a:endParaRPr lang="ru-RU"/>
          </a:p>
        </p:txBody>
      </p:sp>
    </p:spTree>
    <p:extLst>
      <p:ext uri="{BB962C8B-B14F-4D97-AF65-F5344CB8AC3E}">
        <p14:creationId xmlns:p14="http://schemas.microsoft.com/office/powerpoint/2010/main" val="368749412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587B47BB-BEA0-4D0C-9782-A4DD7F648D8E}" type="slidenum">
              <a:rPr lang="ru-RU"/>
              <a:pPr>
                <a:defRPr/>
              </a:pPr>
              <a:t>‹#›</a:t>
            </a:fld>
            <a:endParaRPr lang="ru-RU"/>
          </a:p>
        </p:txBody>
      </p:sp>
    </p:spTree>
    <p:extLst>
      <p:ext uri="{BB962C8B-B14F-4D97-AF65-F5344CB8AC3E}">
        <p14:creationId xmlns:p14="http://schemas.microsoft.com/office/powerpoint/2010/main" val="241217799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EF238B1D-3B9B-47CD-A71F-0FF66B9351EC}" type="slidenum">
              <a:rPr lang="ru-RU"/>
              <a:pPr>
                <a:defRPr/>
              </a:pPr>
              <a:t>‹#›</a:t>
            </a:fld>
            <a:endParaRPr lang="ru-RU"/>
          </a:p>
        </p:txBody>
      </p:sp>
    </p:spTree>
    <p:extLst>
      <p:ext uri="{BB962C8B-B14F-4D97-AF65-F5344CB8AC3E}">
        <p14:creationId xmlns:p14="http://schemas.microsoft.com/office/powerpoint/2010/main" val="57360287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607C7B77-61FA-4164-93DA-299879F23821}" type="slidenum">
              <a:rPr lang="ru-RU"/>
              <a:pPr>
                <a:defRPr/>
              </a:pPr>
              <a:t>‹#›</a:t>
            </a:fld>
            <a:endParaRPr lang="ru-RU"/>
          </a:p>
        </p:txBody>
      </p:sp>
    </p:spTree>
    <p:extLst>
      <p:ext uri="{BB962C8B-B14F-4D97-AF65-F5344CB8AC3E}">
        <p14:creationId xmlns:p14="http://schemas.microsoft.com/office/powerpoint/2010/main" val="94404953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639"/>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639"/>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458CB693-A088-44F3-97A4-0AA6B53AA353}" type="slidenum">
              <a:rPr lang="ru-RU"/>
              <a:pPr>
                <a:defRPr/>
              </a:pPr>
              <a:t>‹#›</a:t>
            </a:fld>
            <a:endParaRPr lang="ru-RU"/>
          </a:p>
        </p:txBody>
      </p:sp>
    </p:spTree>
    <p:extLst>
      <p:ext uri="{BB962C8B-B14F-4D97-AF65-F5344CB8AC3E}">
        <p14:creationId xmlns:p14="http://schemas.microsoft.com/office/powerpoint/2010/main" val="215199506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138992E2-D9D2-4643-A2E0-3C7515A9ADAC}" type="slidenum">
              <a:rPr lang="ru-RU"/>
              <a:pPr>
                <a:defRPr/>
              </a:pPr>
              <a:t>‹#›</a:t>
            </a:fld>
            <a:endParaRPr lang="ru-RU"/>
          </a:p>
        </p:txBody>
      </p:sp>
    </p:spTree>
    <p:extLst>
      <p:ext uri="{BB962C8B-B14F-4D97-AF65-F5344CB8AC3E}">
        <p14:creationId xmlns:p14="http://schemas.microsoft.com/office/powerpoint/2010/main" val="329780737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1"/>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543608C2-9CDE-4BAD-B539-A3E1C8C5E63C}" type="slidenum">
              <a:rPr lang="ru-RU"/>
              <a:pPr>
                <a:defRPr/>
              </a:pPr>
              <a:t>‹#›</a:t>
            </a:fld>
            <a:endParaRPr lang="ru-RU"/>
          </a:p>
        </p:txBody>
      </p:sp>
    </p:spTree>
    <p:extLst>
      <p:ext uri="{BB962C8B-B14F-4D97-AF65-F5344CB8AC3E}">
        <p14:creationId xmlns:p14="http://schemas.microsoft.com/office/powerpoint/2010/main" val="247635694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639"/>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BA2BC0BE-2180-4A72-B530-A22FA007179E}" type="slidenum">
              <a:rPr lang="ru-RU"/>
              <a:pPr>
                <a:defRPr/>
              </a:pPr>
              <a:t>‹#›</a:t>
            </a:fld>
            <a:endParaRPr lang="ru-RU"/>
          </a:p>
        </p:txBody>
      </p:sp>
    </p:spTree>
    <p:extLst>
      <p:ext uri="{BB962C8B-B14F-4D97-AF65-F5344CB8AC3E}">
        <p14:creationId xmlns:p14="http://schemas.microsoft.com/office/powerpoint/2010/main" val="292287435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1"/>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D1EE9479-8425-4F3B-8F9A-A9F16A8958D4}" type="slidenum">
              <a:rPr lang="ru-RU"/>
              <a:pPr>
                <a:defRPr/>
              </a:pPr>
              <a:t>‹#›</a:t>
            </a:fld>
            <a:endParaRPr lang="ru-RU"/>
          </a:p>
        </p:txBody>
      </p:sp>
    </p:spTree>
    <p:extLst>
      <p:ext uri="{BB962C8B-B14F-4D97-AF65-F5344CB8AC3E}">
        <p14:creationId xmlns:p14="http://schemas.microsoft.com/office/powerpoint/2010/main" val="39078111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589"/>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p>
        </p:txBody>
      </p:sp>
      <p:sp>
        <p:nvSpPr>
          <p:cNvPr id="7" name="Rectangle 5"/>
          <p:cNvSpPr>
            <a:spLocks noGrp="1" noChangeArrowheads="1"/>
          </p:cNvSpPr>
          <p:nvPr>
            <p:ph type="ftr" sz="quarter" idx="11"/>
          </p:nvPr>
        </p:nvSpPr>
        <p:spPr>
          <a:ln/>
        </p:spPr>
        <p:txBody>
          <a:bodyPr/>
          <a:lstStyle>
            <a:lvl1pPr>
              <a:defRPr/>
            </a:lvl1pPr>
          </a:lstStyle>
          <a:p>
            <a:pPr>
              <a:defRPr/>
            </a:pPr>
            <a:endParaRPr lang="ru-RU"/>
          </a:p>
        </p:txBody>
      </p:sp>
      <p:sp>
        <p:nvSpPr>
          <p:cNvPr id="8" name="Rectangle 6"/>
          <p:cNvSpPr>
            <a:spLocks noGrp="1" noChangeArrowheads="1"/>
          </p:cNvSpPr>
          <p:nvPr>
            <p:ph type="sldNum" sz="quarter" idx="12"/>
          </p:nvPr>
        </p:nvSpPr>
        <p:spPr>
          <a:ln/>
        </p:spPr>
        <p:txBody>
          <a:bodyPr/>
          <a:lstStyle>
            <a:lvl1pPr>
              <a:defRPr/>
            </a:lvl1pPr>
          </a:lstStyle>
          <a:p>
            <a:pPr>
              <a:defRPr/>
            </a:pPr>
            <a:fld id="{94B3FB98-10E4-4843-B77C-801323695598}" type="slidenum">
              <a:rPr lang="ru-RU"/>
              <a:pPr>
                <a:defRPr/>
              </a:pPr>
              <a:t>‹#›</a:t>
            </a:fld>
            <a:endParaRPr lang="ru-RU"/>
          </a:p>
        </p:txBody>
      </p:sp>
    </p:spTree>
    <p:extLst>
      <p:ext uri="{BB962C8B-B14F-4D97-AF65-F5344CB8AC3E}">
        <p14:creationId xmlns:p14="http://schemas.microsoft.com/office/powerpoint/2010/main" val="3983729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27819678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1"/>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30D87AD8-0935-405F-817A-911765CA152C}" type="slidenum">
              <a:rPr lang="ru-RU"/>
              <a:pPr>
                <a:defRPr/>
              </a:pPr>
              <a:t>‹#›</a:t>
            </a:fld>
            <a:endParaRPr lang="ru-RU"/>
          </a:p>
        </p:txBody>
      </p:sp>
    </p:spTree>
    <p:extLst>
      <p:ext uri="{BB962C8B-B14F-4D97-AF65-F5344CB8AC3E}">
        <p14:creationId xmlns:p14="http://schemas.microsoft.com/office/powerpoint/2010/main" val="121077404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589"/>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BAF60ACB-2326-46A4-B460-AC7C9D80AC09}" type="slidenum">
              <a:rPr lang="ru-RU"/>
              <a:pPr>
                <a:defRPr/>
              </a:pPr>
              <a:t>‹#›</a:t>
            </a:fld>
            <a:endParaRPr lang="ru-RU"/>
          </a:p>
        </p:txBody>
      </p:sp>
    </p:spTree>
    <p:extLst>
      <p:ext uri="{BB962C8B-B14F-4D97-AF65-F5344CB8AC3E}">
        <p14:creationId xmlns:p14="http://schemas.microsoft.com/office/powerpoint/2010/main" val="364344331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589"/>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p>
        </p:txBody>
      </p:sp>
      <p:sp>
        <p:nvSpPr>
          <p:cNvPr id="7" name="Rectangle 5"/>
          <p:cNvSpPr>
            <a:spLocks noGrp="1" noChangeArrowheads="1"/>
          </p:cNvSpPr>
          <p:nvPr>
            <p:ph type="ftr" sz="quarter" idx="11"/>
          </p:nvPr>
        </p:nvSpPr>
        <p:spPr>
          <a:ln/>
        </p:spPr>
        <p:txBody>
          <a:bodyPr/>
          <a:lstStyle>
            <a:lvl1pPr>
              <a:defRPr/>
            </a:lvl1pPr>
          </a:lstStyle>
          <a:p>
            <a:pPr>
              <a:defRPr/>
            </a:pPr>
            <a:endParaRPr lang="ru-RU"/>
          </a:p>
        </p:txBody>
      </p:sp>
      <p:sp>
        <p:nvSpPr>
          <p:cNvPr id="8" name="Rectangle 6"/>
          <p:cNvSpPr>
            <a:spLocks noGrp="1" noChangeArrowheads="1"/>
          </p:cNvSpPr>
          <p:nvPr>
            <p:ph type="sldNum" sz="quarter" idx="12"/>
          </p:nvPr>
        </p:nvSpPr>
        <p:spPr>
          <a:ln/>
        </p:spPr>
        <p:txBody>
          <a:bodyPr/>
          <a:lstStyle>
            <a:lvl1pPr>
              <a:defRPr/>
            </a:lvl1pPr>
          </a:lstStyle>
          <a:p>
            <a:pPr>
              <a:defRPr/>
            </a:pPr>
            <a:fld id="{4C2592A7-C281-4459-8F1F-5B2902228B0D}" type="slidenum">
              <a:rPr lang="ru-RU"/>
              <a:pPr>
                <a:defRPr/>
              </a:pPr>
              <a:t>‹#›</a:t>
            </a:fld>
            <a:endParaRPr lang="ru-RU"/>
          </a:p>
        </p:txBody>
      </p:sp>
    </p:spTree>
    <p:extLst>
      <p:ext uri="{BB962C8B-B14F-4D97-AF65-F5344CB8AC3E}">
        <p14:creationId xmlns:p14="http://schemas.microsoft.com/office/powerpoint/2010/main" val="10370312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589"/>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p>
        </p:txBody>
      </p:sp>
      <p:sp>
        <p:nvSpPr>
          <p:cNvPr id="7" name="Rectangle 5"/>
          <p:cNvSpPr>
            <a:spLocks noGrp="1" noChangeArrowheads="1"/>
          </p:cNvSpPr>
          <p:nvPr>
            <p:ph type="ftr" sz="quarter" idx="11"/>
          </p:nvPr>
        </p:nvSpPr>
        <p:spPr>
          <a:ln/>
        </p:spPr>
        <p:txBody>
          <a:bodyPr/>
          <a:lstStyle>
            <a:lvl1pPr>
              <a:defRPr/>
            </a:lvl1pPr>
          </a:lstStyle>
          <a:p>
            <a:pPr>
              <a:defRPr/>
            </a:pPr>
            <a:endParaRPr lang="ru-RU"/>
          </a:p>
        </p:txBody>
      </p:sp>
      <p:sp>
        <p:nvSpPr>
          <p:cNvPr id="8" name="Rectangle 6"/>
          <p:cNvSpPr>
            <a:spLocks noGrp="1" noChangeArrowheads="1"/>
          </p:cNvSpPr>
          <p:nvPr>
            <p:ph type="sldNum" sz="quarter" idx="12"/>
          </p:nvPr>
        </p:nvSpPr>
        <p:spPr>
          <a:ln/>
        </p:spPr>
        <p:txBody>
          <a:bodyPr/>
          <a:lstStyle>
            <a:lvl1pPr>
              <a:defRPr/>
            </a:lvl1pPr>
          </a:lstStyle>
          <a:p>
            <a:pPr>
              <a:defRPr/>
            </a:pPr>
            <a:fld id="{FB119ABB-2054-4A1F-A192-E83AFCE0EBBA}" type="slidenum">
              <a:rPr lang="ru-RU"/>
              <a:pPr>
                <a:defRPr/>
              </a:pPr>
              <a:t>‹#›</a:t>
            </a:fld>
            <a:endParaRPr lang="ru-RU"/>
          </a:p>
        </p:txBody>
      </p:sp>
    </p:spTree>
    <p:extLst>
      <p:ext uri="{BB962C8B-B14F-4D97-AF65-F5344CB8AC3E}">
        <p14:creationId xmlns:p14="http://schemas.microsoft.com/office/powerpoint/2010/main" val="135986918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FEEB6E40-C398-4C91-BA1D-A555A81728EC}" type="slidenum">
              <a:rPr lang="ru-RU"/>
              <a:pPr>
                <a:defRPr/>
              </a:pPr>
              <a:t>‹#›</a:t>
            </a:fld>
            <a:endParaRPr lang="ru-RU"/>
          </a:p>
        </p:txBody>
      </p:sp>
    </p:spTree>
    <p:extLst>
      <p:ext uri="{BB962C8B-B14F-4D97-AF65-F5344CB8AC3E}">
        <p14:creationId xmlns:p14="http://schemas.microsoft.com/office/powerpoint/2010/main" val="258348253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OverTx">
  <p:cSld name="Заголовок и объект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0" y="3938589"/>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A7F88829-CC88-4FE7-A5D3-76407EF86446}" type="slidenum">
              <a:rPr lang="ru-RU"/>
              <a:pPr>
                <a:defRPr/>
              </a:pPr>
              <a:t>‹#›</a:t>
            </a:fld>
            <a:endParaRPr lang="ru-RU"/>
          </a:p>
        </p:txBody>
      </p:sp>
    </p:spTree>
    <p:extLst>
      <p:ext uri="{BB962C8B-B14F-4D97-AF65-F5344CB8AC3E}">
        <p14:creationId xmlns:p14="http://schemas.microsoft.com/office/powerpoint/2010/main" val="331633140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dgm">
  <p:cSld name="Заголовок, схема или организационная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7814"/>
            <a:ext cx="10972800" cy="1139825"/>
          </a:xfrm>
        </p:spPr>
        <p:txBody>
          <a:bodyPr/>
          <a:lstStyle/>
          <a:p>
            <a:r>
              <a:rPr lang="ru-RU" smtClean="0"/>
              <a:t>Образец заголовка</a:t>
            </a:r>
            <a:endParaRPr lang="ru-RU"/>
          </a:p>
        </p:txBody>
      </p:sp>
      <p:sp>
        <p:nvSpPr>
          <p:cNvPr id="3" name="Рисунок SmartArt 2"/>
          <p:cNvSpPr>
            <a:spLocks noGrp="1"/>
          </p:cNvSpPr>
          <p:nvPr>
            <p:ph type="dgm" idx="1"/>
          </p:nvPr>
        </p:nvSpPr>
        <p:spPr>
          <a:xfrm>
            <a:off x="609600" y="1600201"/>
            <a:ext cx="10972800" cy="4530725"/>
          </a:xfrm>
        </p:spPr>
        <p:txBody>
          <a:bodyPr/>
          <a:lstStyle/>
          <a:p>
            <a:pPr lvl="0"/>
            <a:endParaRPr lang="ru-RU" noProof="0"/>
          </a:p>
        </p:txBody>
      </p:sp>
      <p:sp>
        <p:nvSpPr>
          <p:cNvPr id="4" name="Дата 3"/>
          <p:cNvSpPr>
            <a:spLocks noGrp="1"/>
          </p:cNvSpPr>
          <p:nvPr>
            <p:ph type="dt" sz="half" idx="10"/>
          </p:nvPr>
        </p:nvSpPr>
        <p:spPr>
          <a:xfrm>
            <a:off x="609600" y="6243638"/>
            <a:ext cx="2844800" cy="457200"/>
          </a:xfrm>
        </p:spPr>
        <p:txBody>
          <a:bodyPr/>
          <a:lstStyle>
            <a:lvl1pPr>
              <a:defRPr/>
            </a:lvl1pPr>
          </a:lstStyle>
          <a:p>
            <a:pPr>
              <a:defRPr/>
            </a:pPr>
            <a:endParaRPr lang="ru-RU" altLang="en-US"/>
          </a:p>
        </p:txBody>
      </p:sp>
      <p:sp>
        <p:nvSpPr>
          <p:cNvPr id="5" name="Нижний колонтитул 4"/>
          <p:cNvSpPr>
            <a:spLocks noGrp="1"/>
          </p:cNvSpPr>
          <p:nvPr>
            <p:ph type="ftr" sz="quarter" idx="11"/>
          </p:nvPr>
        </p:nvSpPr>
        <p:spPr>
          <a:xfrm>
            <a:off x="4165600" y="6248400"/>
            <a:ext cx="3860800" cy="457200"/>
          </a:xfrm>
        </p:spPr>
        <p:txBody>
          <a:bodyPr/>
          <a:lstStyle>
            <a:lvl1pPr>
              <a:defRPr/>
            </a:lvl1pPr>
          </a:lstStyle>
          <a:p>
            <a:pPr>
              <a:defRPr/>
            </a:pPr>
            <a:endParaRPr lang="ru-RU" altLang="en-US"/>
          </a:p>
        </p:txBody>
      </p:sp>
      <p:sp>
        <p:nvSpPr>
          <p:cNvPr id="6" name="Номер слайда 5"/>
          <p:cNvSpPr>
            <a:spLocks noGrp="1"/>
          </p:cNvSpPr>
          <p:nvPr>
            <p:ph type="sldNum" sz="quarter" idx="12"/>
          </p:nvPr>
        </p:nvSpPr>
        <p:spPr>
          <a:xfrm>
            <a:off x="8737600" y="6243638"/>
            <a:ext cx="2844800" cy="457200"/>
          </a:xfrm>
        </p:spPr>
        <p:txBody>
          <a:bodyPr/>
          <a:lstStyle>
            <a:lvl1pPr>
              <a:defRPr/>
            </a:lvl1pPr>
          </a:lstStyle>
          <a:p>
            <a:pPr>
              <a:defRPr/>
            </a:pPr>
            <a:fld id="{29F7DA5D-B127-4797-9EDD-20E0604B6282}" type="slidenum">
              <a:rPr lang="ru-RU" altLang="en-US"/>
              <a:pPr>
                <a:defRPr/>
              </a:pPr>
              <a:t>‹#›</a:t>
            </a:fld>
            <a:endParaRPr lang="ru-RU" altLang="en-US"/>
          </a:p>
        </p:txBody>
      </p:sp>
    </p:spTree>
    <p:extLst>
      <p:ext uri="{BB962C8B-B14F-4D97-AF65-F5344CB8AC3E}">
        <p14:creationId xmlns:p14="http://schemas.microsoft.com/office/powerpoint/2010/main" val="191052186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10878322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61552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1C582D60-8149-4398-A62F-D0793018819A}" type="slidenum">
              <a:rPr lang="en-US"/>
              <a:pPr>
                <a:defRPr/>
              </a:pPr>
              <a:t>‹#›</a:t>
            </a:fld>
            <a:endParaRPr lang="en-US"/>
          </a:p>
        </p:txBody>
      </p:sp>
    </p:spTree>
    <p:extLst>
      <p:ext uri="{BB962C8B-B14F-4D97-AF65-F5344CB8AC3E}">
        <p14:creationId xmlns:p14="http://schemas.microsoft.com/office/powerpoint/2010/main" val="9023968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6300482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17604B15-260C-41EB-89FE-9E08272C9C3D}" type="slidenum">
              <a:rPr lang="en-US"/>
              <a:pPr>
                <a:defRPr/>
              </a:pPr>
              <a:t>‹#›</a:t>
            </a:fld>
            <a:endParaRPr lang="en-US"/>
          </a:p>
        </p:txBody>
      </p:sp>
    </p:spTree>
    <p:extLst>
      <p:ext uri="{BB962C8B-B14F-4D97-AF65-F5344CB8AC3E}">
        <p14:creationId xmlns:p14="http://schemas.microsoft.com/office/powerpoint/2010/main" val="249760280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F68777CB-95E4-4DDA-AF86-A51FFB88F3CA}" type="slidenum">
              <a:rPr lang="en-US"/>
              <a:pPr>
                <a:defRPr/>
              </a:pPr>
              <a:t>‹#›</a:t>
            </a:fld>
            <a:endParaRPr lang="en-US"/>
          </a:p>
        </p:txBody>
      </p:sp>
    </p:spTree>
    <p:extLst>
      <p:ext uri="{BB962C8B-B14F-4D97-AF65-F5344CB8AC3E}">
        <p14:creationId xmlns:p14="http://schemas.microsoft.com/office/powerpoint/2010/main" val="115954930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C72A5F76-3BDC-4E25-80AF-5B80D4E54E7F}" type="slidenum">
              <a:rPr lang="en-US"/>
              <a:pPr>
                <a:defRPr/>
              </a:pPr>
              <a:t>‹#›</a:t>
            </a:fld>
            <a:endParaRPr lang="en-US"/>
          </a:p>
        </p:txBody>
      </p:sp>
    </p:spTree>
    <p:extLst>
      <p:ext uri="{BB962C8B-B14F-4D97-AF65-F5344CB8AC3E}">
        <p14:creationId xmlns:p14="http://schemas.microsoft.com/office/powerpoint/2010/main" val="290938605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4" descr="Sub section.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2217510"/>
            <a:ext cx="10363200" cy="1470025"/>
          </a:xfrm>
        </p:spPr>
        <p:txBody>
          <a:bodyPr/>
          <a:lstStyle>
            <a:lvl1pPr>
              <a:defRPr sz="3600">
                <a:solidFill>
                  <a:schemeClr val="tx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8216914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B3777651-46F1-41CA-9F0A-1603EF58CC19}" type="slidenum">
              <a:rPr lang="en-US"/>
              <a:pPr>
                <a:defRPr/>
              </a:pPr>
              <a:t>‹#›</a:t>
            </a:fld>
            <a:endParaRPr lang="en-US"/>
          </a:p>
        </p:txBody>
      </p:sp>
    </p:spTree>
    <p:extLst>
      <p:ext uri="{BB962C8B-B14F-4D97-AF65-F5344CB8AC3E}">
        <p14:creationId xmlns:p14="http://schemas.microsoft.com/office/powerpoint/2010/main" val="308712450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1733" y="177800"/>
            <a:ext cx="11338560" cy="1003300"/>
          </a:xfrm>
        </p:spPr>
        <p:txBody>
          <a:bodyPr>
            <a:normAutofit/>
          </a:bodyPr>
          <a:lstStyle>
            <a:lvl1pPr>
              <a:defRPr sz="2600"/>
            </a:lvl1pPr>
          </a:lstStyle>
          <a:p>
            <a:r>
              <a:rPr lang="en-US" smtClean="0"/>
              <a:t>Click to edit Master title style</a:t>
            </a:r>
            <a:endParaRPr lang="en-GB" dirty="0"/>
          </a:p>
        </p:txBody>
      </p:sp>
      <p:sp>
        <p:nvSpPr>
          <p:cNvPr id="6" name="Content Placeholder 2"/>
          <p:cNvSpPr>
            <a:spLocks noGrp="1"/>
          </p:cNvSpPr>
          <p:nvPr>
            <p:ph idx="1"/>
          </p:nvPr>
        </p:nvSpPr>
        <p:spPr>
          <a:xfrm>
            <a:off x="321733" y="1351280"/>
            <a:ext cx="11338560" cy="5392420"/>
          </a:xfrm>
          <a:prstGeom prst="rect">
            <a:avLst/>
          </a:prstGeom>
        </p:spPr>
        <p:txBody>
          <a:bodyPr/>
          <a:lstStyle>
            <a:lvl1pPr>
              <a:buClr>
                <a:schemeClr val="accent1"/>
              </a:buClr>
              <a:defRPr/>
            </a:lvl1pPr>
            <a:lvl2pPr>
              <a:spcAft>
                <a:spcPts val="600"/>
              </a:spcAft>
              <a:buClr>
                <a:schemeClr val="accent1"/>
              </a:buClr>
              <a:defRPr/>
            </a:lvl2pPr>
            <a:lvl3pPr>
              <a:spcAft>
                <a:spcPts val="400"/>
              </a:spcAft>
              <a:buClr>
                <a:schemeClr val="accent1"/>
              </a:buClr>
              <a:defRPr/>
            </a:lvl3pPr>
            <a:lvl4pPr marL="1314450" indent="-171450">
              <a:spcAft>
                <a:spcPts val="400"/>
              </a:spcAft>
              <a:buClr>
                <a:schemeClr val="accent1"/>
              </a:buClr>
              <a:buFontTx/>
              <a:buChar char="–"/>
              <a:defRPr sz="1400"/>
            </a:lvl4pPr>
            <a:lvl5pPr marL="1714500" indent="-171450">
              <a:spcAft>
                <a:spcPts val="400"/>
              </a:spcAft>
              <a:buClr>
                <a:schemeClr val="accent1"/>
              </a:buClr>
              <a:buFontTx/>
              <a:buChar char="–"/>
              <a:defRPr sz="1400"/>
            </a:lvl5pPr>
            <a:lvl6pPr marL="2171700" indent="-171450">
              <a:spcAft>
                <a:spcPts val="400"/>
              </a:spcAft>
              <a:buClr>
                <a:schemeClr val="accent1"/>
              </a:buClr>
              <a:buFontTx/>
              <a:buChar char="–"/>
              <a:defRPr sz="1400"/>
            </a:lvl6pPr>
            <a:lvl7pPr marL="2628900" indent="-171450">
              <a:spcAft>
                <a:spcPts val="400"/>
              </a:spcAft>
              <a:buClr>
                <a:schemeClr val="accent1"/>
              </a:buClr>
              <a:buFontTx/>
              <a:buChar char="–"/>
              <a:defRPr sz="1400" baseline="0"/>
            </a:lvl7pPr>
            <a:lvl8pPr marL="3028950" indent="-171450">
              <a:spcAft>
                <a:spcPts val="400"/>
              </a:spcAft>
              <a:buClr>
                <a:schemeClr val="accent1"/>
              </a:buClr>
              <a:buFontTx/>
              <a:buChar char="–"/>
              <a:defRPr sz="1400" baseline="0"/>
            </a:lvl8pPr>
            <a:lvl9pPr marL="3486150" indent="-171450">
              <a:spcAft>
                <a:spcPts val="400"/>
              </a:spcAft>
              <a:buClr>
                <a:schemeClr val="accent1"/>
              </a:buClr>
              <a:buFontTx/>
              <a:buChar char="–"/>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7913609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98764" y="294810"/>
            <a:ext cx="10090920" cy="338554"/>
          </a:xfrm>
        </p:spPr>
        <p:txBody>
          <a:bodyPr/>
          <a:lstStyle/>
          <a:p>
            <a:r>
              <a:rPr lang="ru-RU" smtClean="0"/>
              <a:t>Образец заголовка</a:t>
            </a:r>
            <a:endParaRPr lang="en-GB" dirty="0"/>
          </a:p>
        </p:txBody>
      </p:sp>
      <p:sp>
        <p:nvSpPr>
          <p:cNvPr id="16" name="Content Placeholder 15"/>
          <p:cNvSpPr>
            <a:spLocks noGrp="1"/>
          </p:cNvSpPr>
          <p:nvPr>
            <p:ph sz="quarter" idx="12"/>
          </p:nvPr>
        </p:nvSpPr>
        <p:spPr>
          <a:xfrm>
            <a:off x="500097" y="1177489"/>
            <a:ext cx="11217769" cy="4658549"/>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type="body" sz="quarter" idx="14"/>
          </p:nvPr>
        </p:nvSpPr>
        <p:spPr>
          <a:xfrm>
            <a:off x="498795" y="692554"/>
            <a:ext cx="10118404" cy="234950"/>
          </a:xfrm>
        </p:spPr>
        <p:txBody>
          <a:bodyPr/>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lvl="0"/>
            <a:r>
              <a:rPr lang="ru-RU" smtClean="0"/>
              <a:t>Образец текста</a:t>
            </a:r>
          </a:p>
        </p:txBody>
      </p:sp>
      <p:sp>
        <p:nvSpPr>
          <p:cNvPr id="6" name="Text Placeholder 5"/>
          <p:cNvSpPr>
            <a:spLocks noGrp="1"/>
          </p:cNvSpPr>
          <p:nvPr>
            <p:ph type="body" sz="quarter" idx="18"/>
          </p:nvPr>
        </p:nvSpPr>
        <p:spPr>
          <a:xfrm>
            <a:off x="499872" y="5965754"/>
            <a:ext cx="11261093" cy="215444"/>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ru-RU" smtClean="0"/>
              <a:t>Образец текста</a:t>
            </a:r>
          </a:p>
        </p:txBody>
      </p:sp>
      <p:sp>
        <p:nvSpPr>
          <p:cNvPr id="7" name="Date Placeholder 3"/>
          <p:cNvSpPr>
            <a:spLocks noGrp="1"/>
          </p:cNvSpPr>
          <p:nvPr>
            <p:ph type="dt" sz="half" idx="19"/>
          </p:nvPr>
        </p:nvSpPr>
        <p:spPr/>
        <p:txBody>
          <a:bodyPr/>
          <a:lstStyle>
            <a:lvl1pPr algn="ctr">
              <a:defRPr/>
            </a:lvl1pPr>
          </a:lstStyle>
          <a:p>
            <a:pPr>
              <a:defRPr/>
            </a:pPr>
            <a:r>
              <a:rPr lang="en-US"/>
              <a:t>Insert your date / confidentiality text here</a:t>
            </a:r>
            <a:endParaRPr lang="en-GB"/>
          </a:p>
        </p:txBody>
      </p:sp>
      <p:sp>
        <p:nvSpPr>
          <p:cNvPr id="9" name="Footer Placeholder 6"/>
          <p:cNvSpPr>
            <a:spLocks noGrp="1"/>
          </p:cNvSpPr>
          <p:nvPr>
            <p:ph type="ftr" sz="quarter" idx="20"/>
          </p:nvPr>
        </p:nvSpPr>
        <p:spPr/>
        <p:txBody>
          <a:bodyPr/>
          <a:lstStyle>
            <a:lvl1pPr>
              <a:defRPr/>
            </a:lvl1pPr>
          </a:lstStyle>
          <a:p>
            <a:pPr>
              <a:defRPr/>
            </a:pPr>
            <a:r>
              <a:rPr lang="en-GB"/>
              <a:t>4x3 presentation kit</a:t>
            </a:r>
          </a:p>
        </p:txBody>
      </p:sp>
      <p:sp>
        <p:nvSpPr>
          <p:cNvPr id="10" name="Slide Number Placeholder 9"/>
          <p:cNvSpPr>
            <a:spLocks noGrp="1"/>
          </p:cNvSpPr>
          <p:nvPr>
            <p:ph type="sldNum" sz="quarter" idx="21"/>
          </p:nvPr>
        </p:nvSpPr>
        <p:spPr/>
        <p:txBody>
          <a:bodyPr/>
          <a:lstStyle>
            <a:lvl1pPr>
              <a:defRPr/>
            </a:lvl1pPr>
          </a:lstStyle>
          <a:p>
            <a:pPr>
              <a:defRPr/>
            </a:pPr>
            <a:fld id="{550F55B3-177E-4026-A695-DF8857F74E9F}" type="slidenum">
              <a:rPr lang="en-GB"/>
              <a:pPr>
                <a:defRPr/>
              </a:pPr>
              <a:t>‹#›</a:t>
            </a:fld>
            <a:endParaRPr lang="en-GB" dirty="0"/>
          </a:p>
        </p:txBody>
      </p:sp>
    </p:spTree>
    <p:extLst>
      <p:ext uri="{BB962C8B-B14F-4D97-AF65-F5344CB8AC3E}">
        <p14:creationId xmlns:p14="http://schemas.microsoft.com/office/powerpoint/2010/main" val="320451520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6" name="TextBox 5"/>
          <p:cNvSpPr txBox="1">
            <a:spLocks noChangeArrowheads="1"/>
          </p:cNvSpPr>
          <p:nvPr userDrawn="1"/>
        </p:nvSpPr>
        <p:spPr bwMode="auto">
          <a:xfrm>
            <a:off x="537634" y="5899150"/>
            <a:ext cx="5135033"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GB" sz="800" smtClean="0">
              <a:solidFill>
                <a:srgbClr val="000000"/>
              </a:solidFill>
            </a:endParaRPr>
          </a:p>
        </p:txBody>
      </p:sp>
      <p:sp>
        <p:nvSpPr>
          <p:cNvPr id="2" name="Title 1"/>
          <p:cNvSpPr>
            <a:spLocks noGrp="1"/>
          </p:cNvSpPr>
          <p:nvPr>
            <p:ph type="title"/>
          </p:nvPr>
        </p:nvSpPr>
        <p:spPr/>
        <p:txBody>
          <a:bodyPr/>
          <a:lstStyle/>
          <a:p>
            <a:r>
              <a:rPr lang="en-US"/>
              <a:t>Click to edit Master title style</a:t>
            </a:r>
            <a:endParaRPr lang="en-GB" dirty="0"/>
          </a:p>
        </p:txBody>
      </p:sp>
      <p:sp>
        <p:nvSpPr>
          <p:cNvPr id="5" name="Text Placeholder 4"/>
          <p:cNvSpPr>
            <a:spLocks noGrp="1"/>
          </p:cNvSpPr>
          <p:nvPr>
            <p:ph type="body" sz="quarter" idx="14"/>
          </p:nvPr>
        </p:nvSpPr>
        <p:spPr>
          <a:xfrm>
            <a:off x="527053" y="1414466"/>
            <a:ext cx="11137900" cy="4897437"/>
          </a:xfrm>
        </p:spPr>
        <p:txBody>
          <a:bodyPr/>
          <a:lstStyle>
            <a:lvl1pPr>
              <a:spcBef>
                <a:spcPts val="2400"/>
              </a:spcBef>
              <a:defRPr sz="24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8"/>
          <p:cNvSpPr>
            <a:spLocks noGrp="1"/>
          </p:cNvSpPr>
          <p:nvPr>
            <p:ph type="body" sz="quarter" idx="15"/>
          </p:nvPr>
        </p:nvSpPr>
        <p:spPr>
          <a:xfrm>
            <a:off x="523739" y="5899150"/>
            <a:ext cx="4185148" cy="488950"/>
          </a:xfrm>
        </p:spPr>
        <p:txBody>
          <a:bodyPr/>
          <a:lstStyle>
            <a:lvl1pPr marL="0" indent="0">
              <a:buFontTx/>
              <a:buNone/>
              <a:defRPr sz="800"/>
            </a:lvl1pPr>
            <a:lvl2pPr marL="358775" indent="0">
              <a:buFontTx/>
              <a:buNone/>
              <a:defRPr sz="800"/>
            </a:lvl2pPr>
          </a:lstStyle>
          <a:p>
            <a:pPr lvl="0"/>
            <a:r>
              <a:rPr lang="en-US" dirty="0"/>
              <a:t>Click to edit Master text styles</a:t>
            </a:r>
          </a:p>
        </p:txBody>
      </p:sp>
      <p:sp>
        <p:nvSpPr>
          <p:cNvPr id="7" name="Slide Number Placeholder 5"/>
          <p:cNvSpPr>
            <a:spLocks noGrp="1"/>
          </p:cNvSpPr>
          <p:nvPr>
            <p:ph type="sldNum" sz="quarter" idx="16"/>
          </p:nvPr>
        </p:nvSpPr>
        <p:spPr>
          <a:xfrm>
            <a:off x="11569701" y="6477001"/>
            <a:ext cx="385233" cy="365125"/>
          </a:xfrm>
        </p:spPr>
        <p:txBody>
          <a:bodyPr/>
          <a:lstStyle>
            <a:lvl1pPr>
              <a:defRPr/>
            </a:lvl1pPr>
          </a:lstStyle>
          <a:p>
            <a:pPr>
              <a:defRPr/>
            </a:pPr>
            <a:fld id="{ECB31FF7-09A0-447B-84A4-E5F903F12A51}" type="slidenum">
              <a:rPr lang="en-GB"/>
              <a:pPr>
                <a:defRPr/>
              </a:pPr>
              <a:t>‹#›</a:t>
            </a:fld>
            <a:endParaRPr lang="en-GB" dirty="0"/>
          </a:p>
        </p:txBody>
      </p:sp>
      <p:sp>
        <p:nvSpPr>
          <p:cNvPr id="8" name="Date Placeholder 3"/>
          <p:cNvSpPr>
            <a:spLocks noGrp="1"/>
          </p:cNvSpPr>
          <p:nvPr>
            <p:ph type="dt" sz="half" idx="17"/>
          </p:nvPr>
        </p:nvSpPr>
        <p:spPr>
          <a:xfrm>
            <a:off x="2279651" y="6477001"/>
            <a:ext cx="1225549" cy="365125"/>
          </a:xfrm>
        </p:spPr>
        <p:txBody>
          <a:bodyPr lIns="0" tIns="0" rIns="0" bIns="0" rtlCol="0"/>
          <a:lstStyle>
            <a:lvl1pPr algn="l">
              <a:defRPr sz="800">
                <a:solidFill>
                  <a:srgbClr val="000000"/>
                </a:solidFill>
              </a:defRPr>
            </a:lvl1pPr>
          </a:lstStyle>
          <a:p>
            <a:pPr>
              <a:defRPr/>
            </a:pPr>
            <a:r>
              <a:rPr lang="en-GB"/>
              <a:t>January 2015</a:t>
            </a:r>
          </a:p>
        </p:txBody>
      </p:sp>
      <p:sp>
        <p:nvSpPr>
          <p:cNvPr id="10" name="Footer Placeholder 4"/>
          <p:cNvSpPr>
            <a:spLocks noGrp="1"/>
          </p:cNvSpPr>
          <p:nvPr>
            <p:ph type="ftr" sz="quarter" idx="18"/>
          </p:nvPr>
        </p:nvSpPr>
        <p:spPr>
          <a:xfrm>
            <a:off x="527051" y="6477001"/>
            <a:ext cx="1752600" cy="365125"/>
          </a:xfrm>
        </p:spPr>
        <p:txBody>
          <a:bodyPr lIns="0" tIns="0" rIns="0" bIns="0" rtlCol="0"/>
          <a:lstStyle>
            <a:lvl1pPr algn="l">
              <a:defRPr sz="800">
                <a:solidFill>
                  <a:srgbClr val="000000"/>
                </a:solidFill>
              </a:defRPr>
            </a:lvl1pPr>
          </a:lstStyle>
          <a:p>
            <a:pPr>
              <a:defRPr/>
            </a:pPr>
            <a:r>
              <a:rPr lang="en-GB"/>
              <a:t>Varicella vaccines position paper</a:t>
            </a:r>
          </a:p>
          <a:p>
            <a:pPr>
              <a:defRPr/>
            </a:pPr>
            <a:r>
              <a:rPr lang="en-GB"/>
              <a:t>Resource slide deck</a:t>
            </a:r>
          </a:p>
        </p:txBody>
      </p:sp>
    </p:spTree>
    <p:extLst>
      <p:ext uri="{BB962C8B-B14F-4D97-AF65-F5344CB8AC3E}">
        <p14:creationId xmlns:p14="http://schemas.microsoft.com/office/powerpoint/2010/main" val="172122354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2118" y="1589"/>
          <a:ext cx="4233" cy="1587"/>
        </p:xfrm>
        <a:graphic>
          <a:graphicData uri="http://schemas.openxmlformats.org/presentationml/2006/ole">
            <mc:AlternateContent xmlns:mc="http://schemas.openxmlformats.org/markup-compatibility/2006">
              <mc:Choice xmlns:v="urn:schemas-microsoft-com:vml" Requires="v">
                <p:oleObj spid="_x0000_s103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423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numéro de diapositive 4"/>
          <p:cNvSpPr>
            <a:spLocks noGrp="1"/>
          </p:cNvSpPr>
          <p:nvPr>
            <p:ph type="sldNum" sz="quarter" idx="10"/>
          </p:nvPr>
        </p:nvSpPr>
        <p:spPr>
          <a:xfrm>
            <a:off x="10782300" y="6477000"/>
            <a:ext cx="643467" cy="234950"/>
          </a:xfrm>
        </p:spPr>
        <p:txBody>
          <a:bodyPr/>
          <a:lstStyle>
            <a:lvl1pPr>
              <a:defRPr>
                <a:solidFill>
                  <a:srgbClr val="20252C"/>
                </a:solidFill>
              </a:defRPr>
            </a:lvl1pPr>
          </a:lstStyle>
          <a:p>
            <a:pPr>
              <a:defRPr/>
            </a:pPr>
            <a:r>
              <a:rPr lang="en-US"/>
              <a:t>|</a:t>
            </a:r>
            <a:r>
              <a:rPr lang="en-US" sz="900" baseline="16000"/>
              <a:t>        </a:t>
            </a:r>
            <a:fld id="{4C35B172-2797-4F90-B93F-6CA3CEF80746}" type="slidenum">
              <a:rPr lang="en-US"/>
              <a:pPr>
                <a:defRPr/>
              </a:pPr>
              <a:t>‹#›</a:t>
            </a:fld>
            <a:endParaRPr lang="en-US"/>
          </a:p>
        </p:txBody>
      </p:sp>
    </p:spTree>
    <p:extLst>
      <p:ext uri="{BB962C8B-B14F-4D97-AF65-F5344CB8AC3E}">
        <p14:creationId xmlns:p14="http://schemas.microsoft.com/office/powerpoint/2010/main" val="145053674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49088891-B52F-4D32-A833-D7F5B344233B}" type="slidenum">
              <a:rPr lang="en-US"/>
              <a:pPr>
                <a:defRPr/>
              </a:pPr>
              <a:t>‹#›</a:t>
            </a:fld>
            <a:endParaRPr lang="en-US"/>
          </a:p>
        </p:txBody>
      </p:sp>
    </p:spTree>
    <p:extLst>
      <p:ext uri="{BB962C8B-B14F-4D97-AF65-F5344CB8AC3E}">
        <p14:creationId xmlns:p14="http://schemas.microsoft.com/office/powerpoint/2010/main" val="26892417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09297903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C3F54EB8-3AF1-43A8-891D-1B4A92C900D7}" type="slidenum">
              <a:rPr lang="en-US"/>
              <a:pPr>
                <a:defRPr/>
              </a:pPr>
              <a:t>‹#›</a:t>
            </a:fld>
            <a:endParaRPr lang="en-US"/>
          </a:p>
        </p:txBody>
      </p:sp>
    </p:spTree>
    <p:extLst>
      <p:ext uri="{BB962C8B-B14F-4D97-AF65-F5344CB8AC3E}">
        <p14:creationId xmlns:p14="http://schemas.microsoft.com/office/powerpoint/2010/main" val="16360929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E4BAC0CC-E85F-4C4F-B637-B35A90C6A387}" type="slidenum">
              <a:rPr lang="en-US"/>
              <a:pPr>
                <a:defRPr/>
              </a:pPr>
              <a:t>‹#›</a:t>
            </a:fld>
            <a:endParaRPr lang="en-US"/>
          </a:p>
        </p:txBody>
      </p:sp>
    </p:spTree>
    <p:extLst>
      <p:ext uri="{BB962C8B-B14F-4D97-AF65-F5344CB8AC3E}">
        <p14:creationId xmlns:p14="http://schemas.microsoft.com/office/powerpoint/2010/main" val="199034993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609600" y="1244600"/>
            <a:ext cx="11006667" cy="264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11"/>
          </p:nvPr>
        </p:nvSpPr>
        <p:spPr>
          <a:xfrm>
            <a:off x="626534" y="4000500"/>
            <a:ext cx="10989733" cy="2565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2692323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1_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573956"/>
            <a:ext cx="10972800" cy="641350"/>
          </a:xfrm>
        </p:spPr>
        <p:txBody>
          <a:bodyPr/>
          <a:lstStyle/>
          <a:p>
            <a:r>
              <a:rPr lang="en-US" smtClean="0"/>
              <a:t>Click to edit Master title style</a:t>
            </a:r>
            <a:endParaRPr lang="en-US"/>
          </a:p>
        </p:txBody>
      </p:sp>
      <p:sp>
        <p:nvSpPr>
          <p:cNvPr id="4" name="Content Placeholder 3"/>
          <p:cNvSpPr>
            <a:spLocks noGrp="1"/>
          </p:cNvSpPr>
          <p:nvPr>
            <p:ph sz="half" idx="2"/>
          </p:nvPr>
        </p:nvSpPr>
        <p:spPr>
          <a:xfrm>
            <a:off x="609600" y="1438276"/>
            <a:ext cx="10972800" cy="21875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6"/>
          <p:cNvSpPr>
            <a:spLocks noGrp="1"/>
          </p:cNvSpPr>
          <p:nvPr>
            <p:ph sz="quarter" idx="10"/>
          </p:nvPr>
        </p:nvSpPr>
        <p:spPr>
          <a:xfrm>
            <a:off x="609600" y="3746500"/>
            <a:ext cx="11023600" cy="2209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2"/>
          <p:cNvSpPr>
            <a:spLocks noGrp="1"/>
          </p:cNvSpPr>
          <p:nvPr>
            <p:ph type="sldNum" sz="quarter" idx="11"/>
          </p:nvPr>
        </p:nvSpPr>
        <p:spPr/>
        <p:txBody>
          <a:bodyPr/>
          <a:lstStyle>
            <a:lvl1pPr>
              <a:defRPr>
                <a:solidFill>
                  <a:srgbClr val="000000">
                    <a:tint val="75000"/>
                  </a:srgbClr>
                </a:solidFill>
              </a:defRPr>
            </a:lvl1pPr>
          </a:lstStyle>
          <a:p>
            <a:pPr>
              <a:defRPr/>
            </a:pPr>
            <a:fld id="{648A26EB-F392-4AD6-AA84-E5BF355397E7}" type="slidenum">
              <a:rPr lang="en-US"/>
              <a:pPr>
                <a:defRPr/>
              </a:pPr>
              <a:t>‹#›</a:t>
            </a:fld>
            <a:endParaRPr lang="en-US"/>
          </a:p>
        </p:txBody>
      </p:sp>
    </p:spTree>
    <p:extLst>
      <p:ext uri="{BB962C8B-B14F-4D97-AF65-F5344CB8AC3E}">
        <p14:creationId xmlns:p14="http://schemas.microsoft.com/office/powerpoint/2010/main" val="1486061948"/>
      </p:ext>
    </p:extLst>
  </p:cSld>
  <p:clrMapOvr>
    <a:masterClrMapping/>
  </p:clrMapOvr>
  <p:transition>
    <p:fade thruBlk="1"/>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Sub-section page 2">
    <p:spTree>
      <p:nvGrpSpPr>
        <p:cNvPr id="1" name=""/>
        <p:cNvGrpSpPr/>
        <p:nvPr/>
      </p:nvGrpSpPr>
      <p:grpSpPr>
        <a:xfrm>
          <a:off x="0" y="0"/>
          <a:ext cx="0" cy="0"/>
          <a:chOff x="0" y="0"/>
          <a:chExt cx="0" cy="0"/>
        </a:xfrm>
      </p:grpSpPr>
      <p:sp>
        <p:nvSpPr>
          <p:cNvPr id="2" name="Espace réservé du numéro de diapositive 4"/>
          <p:cNvSpPr>
            <a:spLocks noGrp="1"/>
          </p:cNvSpPr>
          <p:nvPr>
            <p:ph type="sldNum" sz="quarter" idx="10"/>
          </p:nvPr>
        </p:nvSpPr>
        <p:spPr/>
        <p:txBody>
          <a:bodyPr/>
          <a:lstStyle>
            <a:lvl1pPr>
              <a:defRPr/>
            </a:lvl1pPr>
          </a:lstStyle>
          <a:p>
            <a:pPr>
              <a:defRPr/>
            </a:pPr>
            <a:fld id="{BFD72EB4-3C7B-4F39-ABB2-CD3C477BE038}" type="slidenum">
              <a:rPr lang="en-US"/>
              <a:pPr>
                <a:defRPr/>
              </a:pPr>
              <a:t>‹#›</a:t>
            </a:fld>
            <a:endParaRPr lang="en-US"/>
          </a:p>
        </p:txBody>
      </p:sp>
    </p:spTree>
    <p:extLst>
      <p:ext uri="{BB962C8B-B14F-4D97-AF65-F5344CB8AC3E}">
        <p14:creationId xmlns:p14="http://schemas.microsoft.com/office/powerpoint/2010/main" val="419231563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B2CC33D7-CBAE-448A-9A52-7DC3A859087F}" type="slidenum">
              <a:rPr lang="en-US"/>
              <a:pPr>
                <a:defRPr/>
              </a:pPr>
              <a:t>‹#›</a:t>
            </a:fld>
            <a:endParaRPr lang="en-US"/>
          </a:p>
        </p:txBody>
      </p:sp>
    </p:spTree>
    <p:extLst>
      <p:ext uri="{BB962C8B-B14F-4D97-AF65-F5344CB8AC3E}">
        <p14:creationId xmlns:p14="http://schemas.microsoft.com/office/powerpoint/2010/main" val="60838271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BE43B0D4-A81D-4590-AB4C-4726DF5BEF26}" type="slidenum">
              <a:rPr lang="en-US"/>
              <a:pPr>
                <a:defRPr/>
              </a:pPr>
              <a:t>‹#›</a:t>
            </a:fld>
            <a:endParaRPr lang="en-US"/>
          </a:p>
        </p:txBody>
      </p:sp>
    </p:spTree>
    <p:extLst>
      <p:ext uri="{BB962C8B-B14F-4D97-AF65-F5344CB8AC3E}">
        <p14:creationId xmlns:p14="http://schemas.microsoft.com/office/powerpoint/2010/main" val="2349520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22823887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71644484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406849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021108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52824643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90598672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91319273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80806597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75258219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41972518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61396769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57074986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47025157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4362635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23551644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2555873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3859395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100469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2501263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2835170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96703417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87409099"/>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98843615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19038262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15546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B4C71EC6-210F-42DE-9C53-41977AD35B3D}" type="datetimeFigureOut">
              <a:rPr lang="ru-RU" smtClean="0"/>
              <a:t>16.12.2021</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58091585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8727652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94250610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98554220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042258915"/>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2534064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70515103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4246731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28879821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21726376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1452248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76522927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89651464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03937069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28175349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73480975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81806642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10160781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13440930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3524819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10045085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7565329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6451951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64763598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260439674"/>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45138159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29808644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22392109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52706805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94208813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13447111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28875520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5267812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42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lvl1pPr eaLnBrk="0" fontAlgn="base" hangingPunct="0">
              <a:spcBef>
                <a:spcPct val="0"/>
              </a:spcBef>
              <a:spcAft>
                <a:spcPct val="0"/>
              </a:spcAft>
              <a:defRPr>
                <a:latin typeface="Arial" charset="0"/>
              </a:defRPr>
            </a:lvl1pPr>
          </a:lstStyle>
          <a:p>
            <a:pPr>
              <a:defRPr/>
            </a:pPr>
            <a:fld id="{5FC8B6BF-9218-40CF-9043-99F424E6B90A}" type="datetimeFigureOut">
              <a:rPr lang="ru-RU"/>
              <a:pPr>
                <a:defRPr/>
              </a:pPr>
              <a:t>16.12.2021</a:t>
            </a:fld>
            <a:endParaRPr lang="ru-RU"/>
          </a:p>
        </p:txBody>
      </p:sp>
      <p:sp>
        <p:nvSpPr>
          <p:cNvPr id="5" name="Нижний колонтитул 4"/>
          <p:cNvSpPr>
            <a:spLocks noGrp="1"/>
          </p:cNvSpPr>
          <p:nvPr>
            <p:ph type="ftr" sz="quarter" idx="11"/>
          </p:nvPr>
        </p:nvSpPr>
        <p:spPr/>
        <p:txBody>
          <a:bodyPr/>
          <a:lstStyle>
            <a:lvl1pPr eaLnBrk="0" fontAlgn="base" hangingPunct="0">
              <a:spcBef>
                <a:spcPct val="0"/>
              </a:spcBef>
              <a:spcAft>
                <a:spcPct val="0"/>
              </a:spcAft>
              <a:defRPr>
                <a:latin typeface="Arial" charset="0"/>
              </a:defRPr>
            </a:lvl1pPr>
          </a:lstStyle>
          <a:p>
            <a:pPr>
              <a:defRPr/>
            </a:pPr>
            <a:endParaRPr lang="ru-RU"/>
          </a:p>
        </p:txBody>
      </p:sp>
      <p:sp>
        <p:nvSpPr>
          <p:cNvPr id="6" name="Номер слайда 5"/>
          <p:cNvSpPr>
            <a:spLocks noGrp="1"/>
          </p:cNvSpPr>
          <p:nvPr>
            <p:ph type="sldNum" sz="quarter" idx="12"/>
          </p:nvPr>
        </p:nvSpPr>
        <p:spPr/>
        <p:txBody>
          <a:bodyPr/>
          <a:lstStyle>
            <a:lvl1pPr eaLnBrk="0" fontAlgn="base" hangingPunct="0">
              <a:spcBef>
                <a:spcPct val="0"/>
              </a:spcBef>
              <a:spcAft>
                <a:spcPct val="0"/>
              </a:spcAft>
              <a:defRPr>
                <a:latin typeface="Arial" charset="0"/>
              </a:defRPr>
            </a:lvl1pPr>
          </a:lstStyle>
          <a:p>
            <a:pPr>
              <a:defRPr/>
            </a:pPr>
            <a:fld id="{5954D112-85B2-4254-8688-C30806271A41}" type="slidenum">
              <a:rPr lang="ru-RU"/>
              <a:pPr>
                <a:defRPr/>
              </a:pPr>
              <a:t>‹#›</a:t>
            </a:fld>
            <a:endParaRPr lang="ru-RU"/>
          </a:p>
        </p:txBody>
      </p:sp>
    </p:spTree>
    <p:extLst>
      <p:ext uri="{BB962C8B-B14F-4D97-AF65-F5344CB8AC3E}">
        <p14:creationId xmlns:p14="http://schemas.microsoft.com/office/powerpoint/2010/main" val="100250750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34606822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93612680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0835366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43748678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25057793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9008776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26122540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17978568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04192783"/>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1508759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eaLnBrk="0" fontAlgn="base" hangingPunct="0">
              <a:spcBef>
                <a:spcPct val="0"/>
              </a:spcBef>
              <a:spcAft>
                <a:spcPct val="0"/>
              </a:spcAft>
              <a:defRPr>
                <a:latin typeface="Arial" charset="0"/>
              </a:defRPr>
            </a:lvl1pPr>
          </a:lstStyle>
          <a:p>
            <a:pPr>
              <a:defRPr/>
            </a:pPr>
            <a:fld id="{57E0EA38-7AFD-4F1F-A2AB-31B3C47B05DD}" type="datetimeFigureOut">
              <a:rPr lang="ru-RU"/>
              <a:pPr>
                <a:defRPr/>
              </a:pPr>
              <a:t>16.12.2021</a:t>
            </a:fld>
            <a:endParaRPr lang="ru-RU"/>
          </a:p>
        </p:txBody>
      </p:sp>
      <p:sp>
        <p:nvSpPr>
          <p:cNvPr id="5" name="Нижний колонтитул 4"/>
          <p:cNvSpPr>
            <a:spLocks noGrp="1"/>
          </p:cNvSpPr>
          <p:nvPr>
            <p:ph type="ftr" sz="quarter" idx="11"/>
          </p:nvPr>
        </p:nvSpPr>
        <p:spPr/>
        <p:txBody>
          <a:bodyPr/>
          <a:lstStyle>
            <a:lvl1pPr eaLnBrk="0" fontAlgn="base" hangingPunct="0">
              <a:spcBef>
                <a:spcPct val="0"/>
              </a:spcBef>
              <a:spcAft>
                <a:spcPct val="0"/>
              </a:spcAft>
              <a:defRPr>
                <a:latin typeface="Arial" charset="0"/>
              </a:defRPr>
            </a:lvl1pPr>
          </a:lstStyle>
          <a:p>
            <a:pPr>
              <a:defRPr/>
            </a:pPr>
            <a:endParaRPr lang="ru-RU"/>
          </a:p>
        </p:txBody>
      </p:sp>
      <p:sp>
        <p:nvSpPr>
          <p:cNvPr id="6" name="Номер слайда 5"/>
          <p:cNvSpPr>
            <a:spLocks noGrp="1"/>
          </p:cNvSpPr>
          <p:nvPr>
            <p:ph type="sldNum" sz="quarter" idx="12"/>
          </p:nvPr>
        </p:nvSpPr>
        <p:spPr/>
        <p:txBody>
          <a:bodyPr/>
          <a:lstStyle>
            <a:lvl1pPr eaLnBrk="0" fontAlgn="base" hangingPunct="0">
              <a:spcBef>
                <a:spcPct val="0"/>
              </a:spcBef>
              <a:spcAft>
                <a:spcPct val="0"/>
              </a:spcAft>
              <a:defRPr>
                <a:latin typeface="Arial" charset="0"/>
              </a:defRPr>
            </a:lvl1pPr>
          </a:lstStyle>
          <a:p>
            <a:pPr>
              <a:defRPr/>
            </a:pPr>
            <a:fld id="{273C56A5-79DD-43B4-9D9F-631F739FA6F8}" type="slidenum">
              <a:rPr lang="ru-RU"/>
              <a:pPr>
                <a:defRPr/>
              </a:pPr>
              <a:t>‹#›</a:t>
            </a:fld>
            <a:endParaRPr lang="ru-RU"/>
          </a:p>
        </p:txBody>
      </p:sp>
    </p:spTree>
    <p:extLst>
      <p:ext uri="{BB962C8B-B14F-4D97-AF65-F5344CB8AC3E}">
        <p14:creationId xmlns:p14="http://schemas.microsoft.com/office/powerpoint/2010/main" val="3857051292"/>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69379770"/>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81984207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4803636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24110779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99994845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80563431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97328992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1436574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35040440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7490387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lvl1pPr eaLnBrk="0" fontAlgn="base" hangingPunct="0">
              <a:spcBef>
                <a:spcPct val="0"/>
              </a:spcBef>
              <a:spcAft>
                <a:spcPct val="0"/>
              </a:spcAft>
              <a:defRPr>
                <a:latin typeface="Arial" charset="0"/>
              </a:defRPr>
            </a:lvl1pPr>
          </a:lstStyle>
          <a:p>
            <a:pPr>
              <a:defRPr/>
            </a:pPr>
            <a:fld id="{86AD01A8-313E-4809-B5D8-B945F85D0672}" type="datetimeFigureOut">
              <a:rPr lang="ru-RU"/>
              <a:pPr>
                <a:defRPr/>
              </a:pPr>
              <a:t>16.12.2021</a:t>
            </a:fld>
            <a:endParaRPr lang="ru-RU"/>
          </a:p>
        </p:txBody>
      </p:sp>
      <p:sp>
        <p:nvSpPr>
          <p:cNvPr id="5" name="Нижний колонтитул 4"/>
          <p:cNvSpPr>
            <a:spLocks noGrp="1"/>
          </p:cNvSpPr>
          <p:nvPr>
            <p:ph type="ftr" sz="quarter" idx="11"/>
          </p:nvPr>
        </p:nvSpPr>
        <p:spPr/>
        <p:txBody>
          <a:bodyPr/>
          <a:lstStyle>
            <a:lvl1pPr eaLnBrk="0" fontAlgn="base" hangingPunct="0">
              <a:spcBef>
                <a:spcPct val="0"/>
              </a:spcBef>
              <a:spcAft>
                <a:spcPct val="0"/>
              </a:spcAft>
              <a:defRPr>
                <a:latin typeface="Arial" charset="0"/>
              </a:defRPr>
            </a:lvl1pPr>
          </a:lstStyle>
          <a:p>
            <a:pPr>
              <a:defRPr/>
            </a:pPr>
            <a:endParaRPr lang="ru-RU"/>
          </a:p>
        </p:txBody>
      </p:sp>
      <p:sp>
        <p:nvSpPr>
          <p:cNvPr id="6" name="Номер слайда 5"/>
          <p:cNvSpPr>
            <a:spLocks noGrp="1"/>
          </p:cNvSpPr>
          <p:nvPr>
            <p:ph type="sldNum" sz="quarter" idx="12"/>
          </p:nvPr>
        </p:nvSpPr>
        <p:spPr/>
        <p:txBody>
          <a:bodyPr/>
          <a:lstStyle>
            <a:lvl1pPr eaLnBrk="0" fontAlgn="base" hangingPunct="0">
              <a:spcBef>
                <a:spcPct val="0"/>
              </a:spcBef>
              <a:spcAft>
                <a:spcPct val="0"/>
              </a:spcAft>
              <a:defRPr>
                <a:latin typeface="Arial" charset="0"/>
              </a:defRPr>
            </a:lvl1pPr>
          </a:lstStyle>
          <a:p>
            <a:pPr>
              <a:defRPr/>
            </a:pPr>
            <a:fld id="{B9A4BF67-1917-43FB-AC7F-F800DE27B2DA}" type="slidenum">
              <a:rPr lang="ru-RU"/>
              <a:pPr>
                <a:defRPr/>
              </a:pPr>
              <a:t>‹#›</a:t>
            </a:fld>
            <a:endParaRPr lang="ru-RU"/>
          </a:p>
        </p:txBody>
      </p:sp>
    </p:spTree>
    <p:extLst>
      <p:ext uri="{BB962C8B-B14F-4D97-AF65-F5344CB8AC3E}">
        <p14:creationId xmlns:p14="http://schemas.microsoft.com/office/powerpoint/2010/main" val="965276854"/>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26401241"/>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9171692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77767975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54553147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924445644"/>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2308303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00637468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46209242"/>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32264193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3256117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lvl1pPr eaLnBrk="0" fontAlgn="base" hangingPunct="0">
              <a:spcBef>
                <a:spcPct val="0"/>
              </a:spcBef>
              <a:spcAft>
                <a:spcPct val="0"/>
              </a:spcAft>
              <a:defRPr>
                <a:latin typeface="Arial" charset="0"/>
              </a:defRPr>
            </a:lvl1pPr>
          </a:lstStyle>
          <a:p>
            <a:pPr>
              <a:defRPr/>
            </a:pPr>
            <a:fld id="{BAE2B48F-5F3E-46F3-BC71-E0A05876607A}" type="datetimeFigureOut">
              <a:rPr lang="ru-RU"/>
              <a:pPr>
                <a:defRPr/>
              </a:pPr>
              <a:t>16.12.2021</a:t>
            </a:fld>
            <a:endParaRPr lang="ru-RU"/>
          </a:p>
        </p:txBody>
      </p:sp>
      <p:sp>
        <p:nvSpPr>
          <p:cNvPr id="6" name="Нижний колонтитул 5"/>
          <p:cNvSpPr>
            <a:spLocks noGrp="1"/>
          </p:cNvSpPr>
          <p:nvPr>
            <p:ph type="ftr" sz="quarter" idx="11"/>
          </p:nvPr>
        </p:nvSpPr>
        <p:spPr/>
        <p:txBody>
          <a:bodyPr/>
          <a:lstStyle>
            <a:lvl1pPr eaLnBrk="0" fontAlgn="base" hangingPunct="0">
              <a:spcBef>
                <a:spcPct val="0"/>
              </a:spcBef>
              <a:spcAft>
                <a:spcPct val="0"/>
              </a:spcAft>
              <a:defRPr>
                <a:latin typeface="Arial" charset="0"/>
              </a:defRPr>
            </a:lvl1pPr>
          </a:lstStyle>
          <a:p>
            <a:pPr>
              <a:defRPr/>
            </a:pPr>
            <a:endParaRPr lang="ru-RU"/>
          </a:p>
        </p:txBody>
      </p:sp>
      <p:sp>
        <p:nvSpPr>
          <p:cNvPr id="7" name="Номер слайда 6"/>
          <p:cNvSpPr>
            <a:spLocks noGrp="1"/>
          </p:cNvSpPr>
          <p:nvPr>
            <p:ph type="sldNum" sz="quarter" idx="12"/>
          </p:nvPr>
        </p:nvSpPr>
        <p:spPr/>
        <p:txBody>
          <a:bodyPr/>
          <a:lstStyle>
            <a:lvl1pPr eaLnBrk="0" fontAlgn="base" hangingPunct="0">
              <a:spcBef>
                <a:spcPct val="0"/>
              </a:spcBef>
              <a:spcAft>
                <a:spcPct val="0"/>
              </a:spcAft>
              <a:defRPr>
                <a:latin typeface="Arial" charset="0"/>
              </a:defRPr>
            </a:lvl1pPr>
          </a:lstStyle>
          <a:p>
            <a:pPr>
              <a:defRPr/>
            </a:pPr>
            <a:fld id="{BEA8FB61-7A7C-4B06-B484-C7F2A36B7C35}" type="slidenum">
              <a:rPr lang="ru-RU"/>
              <a:pPr>
                <a:defRPr/>
              </a:pPr>
              <a:t>‹#›</a:t>
            </a:fld>
            <a:endParaRPr lang="ru-RU"/>
          </a:p>
        </p:txBody>
      </p:sp>
    </p:spTree>
    <p:extLst>
      <p:ext uri="{BB962C8B-B14F-4D97-AF65-F5344CB8AC3E}">
        <p14:creationId xmlns:p14="http://schemas.microsoft.com/office/powerpoint/2010/main" val="409066393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2751162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39904015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410129552"/>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136627756"/>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7081899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71610138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954437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31563905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30151406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9068564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lvl1pPr eaLnBrk="0" fontAlgn="base" hangingPunct="0">
              <a:spcBef>
                <a:spcPct val="0"/>
              </a:spcBef>
              <a:spcAft>
                <a:spcPct val="0"/>
              </a:spcAft>
              <a:defRPr>
                <a:latin typeface="Arial" charset="0"/>
              </a:defRPr>
            </a:lvl1pPr>
          </a:lstStyle>
          <a:p>
            <a:pPr>
              <a:defRPr/>
            </a:pPr>
            <a:fld id="{C329FDF8-5FE1-4407-B927-4DAA145C3955}" type="datetimeFigureOut">
              <a:rPr lang="ru-RU"/>
              <a:pPr>
                <a:defRPr/>
              </a:pPr>
              <a:t>16.12.2021</a:t>
            </a:fld>
            <a:endParaRPr lang="ru-RU"/>
          </a:p>
        </p:txBody>
      </p:sp>
      <p:sp>
        <p:nvSpPr>
          <p:cNvPr id="8" name="Нижний колонтитул 7"/>
          <p:cNvSpPr>
            <a:spLocks noGrp="1"/>
          </p:cNvSpPr>
          <p:nvPr>
            <p:ph type="ftr" sz="quarter" idx="11"/>
          </p:nvPr>
        </p:nvSpPr>
        <p:spPr/>
        <p:txBody>
          <a:bodyPr/>
          <a:lstStyle>
            <a:lvl1pPr eaLnBrk="0" fontAlgn="base" hangingPunct="0">
              <a:spcBef>
                <a:spcPct val="0"/>
              </a:spcBef>
              <a:spcAft>
                <a:spcPct val="0"/>
              </a:spcAft>
              <a:defRPr>
                <a:latin typeface="Arial" charset="0"/>
              </a:defRPr>
            </a:lvl1pPr>
          </a:lstStyle>
          <a:p>
            <a:pPr>
              <a:defRPr/>
            </a:pPr>
            <a:endParaRPr lang="ru-RU"/>
          </a:p>
        </p:txBody>
      </p:sp>
      <p:sp>
        <p:nvSpPr>
          <p:cNvPr id="9" name="Номер слайда 8"/>
          <p:cNvSpPr>
            <a:spLocks noGrp="1"/>
          </p:cNvSpPr>
          <p:nvPr>
            <p:ph type="sldNum" sz="quarter" idx="12"/>
          </p:nvPr>
        </p:nvSpPr>
        <p:spPr/>
        <p:txBody>
          <a:bodyPr/>
          <a:lstStyle>
            <a:lvl1pPr eaLnBrk="0" fontAlgn="base" hangingPunct="0">
              <a:spcBef>
                <a:spcPct val="0"/>
              </a:spcBef>
              <a:spcAft>
                <a:spcPct val="0"/>
              </a:spcAft>
              <a:defRPr>
                <a:latin typeface="Arial" charset="0"/>
              </a:defRPr>
            </a:lvl1pPr>
          </a:lstStyle>
          <a:p>
            <a:pPr>
              <a:defRPr/>
            </a:pPr>
            <a:fld id="{C4210EEE-04F1-4E06-8CB1-FC6A869A7BB6}" type="slidenum">
              <a:rPr lang="ru-RU"/>
              <a:pPr>
                <a:defRPr/>
              </a:pPr>
              <a:t>‹#›</a:t>
            </a:fld>
            <a:endParaRPr lang="ru-RU"/>
          </a:p>
        </p:txBody>
      </p:sp>
    </p:spTree>
    <p:extLst>
      <p:ext uri="{BB962C8B-B14F-4D97-AF65-F5344CB8AC3E}">
        <p14:creationId xmlns:p14="http://schemas.microsoft.com/office/powerpoint/2010/main" val="1236705352"/>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2648685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37274062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853918214"/>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42923475"/>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35248085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845394015"/>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90465728"/>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14693729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50996074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3230148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lvl1pPr eaLnBrk="0" fontAlgn="base" hangingPunct="0">
              <a:spcBef>
                <a:spcPct val="0"/>
              </a:spcBef>
              <a:spcAft>
                <a:spcPct val="0"/>
              </a:spcAft>
              <a:defRPr>
                <a:latin typeface="Arial" charset="0"/>
              </a:defRPr>
            </a:lvl1pPr>
          </a:lstStyle>
          <a:p>
            <a:pPr>
              <a:defRPr/>
            </a:pPr>
            <a:fld id="{42BE5241-8859-452D-AC48-86F211A72879}" type="datetimeFigureOut">
              <a:rPr lang="ru-RU"/>
              <a:pPr>
                <a:defRPr/>
              </a:pPr>
              <a:t>16.12.2021</a:t>
            </a:fld>
            <a:endParaRPr lang="ru-RU"/>
          </a:p>
        </p:txBody>
      </p:sp>
      <p:sp>
        <p:nvSpPr>
          <p:cNvPr id="4" name="Нижний колонтитул 3"/>
          <p:cNvSpPr>
            <a:spLocks noGrp="1"/>
          </p:cNvSpPr>
          <p:nvPr>
            <p:ph type="ftr" sz="quarter" idx="11"/>
          </p:nvPr>
        </p:nvSpPr>
        <p:spPr/>
        <p:txBody>
          <a:bodyPr/>
          <a:lstStyle>
            <a:lvl1pPr eaLnBrk="0" fontAlgn="base" hangingPunct="0">
              <a:spcBef>
                <a:spcPct val="0"/>
              </a:spcBef>
              <a:spcAft>
                <a:spcPct val="0"/>
              </a:spcAft>
              <a:defRPr>
                <a:latin typeface="Arial" charset="0"/>
              </a:defRPr>
            </a:lvl1pPr>
          </a:lstStyle>
          <a:p>
            <a:pPr>
              <a:defRPr/>
            </a:pPr>
            <a:endParaRPr lang="ru-RU"/>
          </a:p>
        </p:txBody>
      </p:sp>
      <p:sp>
        <p:nvSpPr>
          <p:cNvPr id="5" name="Номер слайда 4"/>
          <p:cNvSpPr>
            <a:spLocks noGrp="1"/>
          </p:cNvSpPr>
          <p:nvPr>
            <p:ph type="sldNum" sz="quarter" idx="12"/>
          </p:nvPr>
        </p:nvSpPr>
        <p:spPr/>
        <p:txBody>
          <a:bodyPr/>
          <a:lstStyle>
            <a:lvl1pPr eaLnBrk="0" fontAlgn="base" hangingPunct="0">
              <a:spcBef>
                <a:spcPct val="0"/>
              </a:spcBef>
              <a:spcAft>
                <a:spcPct val="0"/>
              </a:spcAft>
              <a:defRPr>
                <a:latin typeface="Arial" charset="0"/>
              </a:defRPr>
            </a:lvl1pPr>
          </a:lstStyle>
          <a:p>
            <a:pPr>
              <a:defRPr/>
            </a:pPr>
            <a:fld id="{419661BA-765D-4E00-BE44-E08DA5A1012A}" type="slidenum">
              <a:rPr lang="ru-RU"/>
              <a:pPr>
                <a:defRPr/>
              </a:pPr>
              <a:t>‹#›</a:t>
            </a:fld>
            <a:endParaRPr lang="ru-RU"/>
          </a:p>
        </p:txBody>
      </p:sp>
    </p:spTree>
    <p:extLst>
      <p:ext uri="{BB962C8B-B14F-4D97-AF65-F5344CB8AC3E}">
        <p14:creationId xmlns:p14="http://schemas.microsoft.com/office/powerpoint/2010/main" val="1147315086"/>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728474232"/>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504506524"/>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84890620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55331766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88708668"/>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10115493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718243489"/>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142057084"/>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46444826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0552183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lvl1pPr eaLnBrk="0" fontAlgn="base" hangingPunct="0">
              <a:spcBef>
                <a:spcPct val="0"/>
              </a:spcBef>
              <a:spcAft>
                <a:spcPct val="0"/>
              </a:spcAft>
              <a:defRPr>
                <a:latin typeface="Arial" charset="0"/>
              </a:defRPr>
            </a:lvl1pPr>
          </a:lstStyle>
          <a:p>
            <a:pPr>
              <a:defRPr/>
            </a:pPr>
            <a:fld id="{4F1CBB88-3597-4866-A4E2-1725AE523F43}" type="datetimeFigureOut">
              <a:rPr lang="ru-RU"/>
              <a:pPr>
                <a:defRPr/>
              </a:pPr>
              <a:t>16.12.2021</a:t>
            </a:fld>
            <a:endParaRPr lang="ru-RU"/>
          </a:p>
        </p:txBody>
      </p:sp>
      <p:sp>
        <p:nvSpPr>
          <p:cNvPr id="3" name="Нижний колонтитул 2"/>
          <p:cNvSpPr>
            <a:spLocks noGrp="1"/>
          </p:cNvSpPr>
          <p:nvPr>
            <p:ph type="ftr" sz="quarter" idx="11"/>
          </p:nvPr>
        </p:nvSpPr>
        <p:spPr/>
        <p:txBody>
          <a:bodyPr/>
          <a:lstStyle>
            <a:lvl1pPr eaLnBrk="0" fontAlgn="base" hangingPunct="0">
              <a:spcBef>
                <a:spcPct val="0"/>
              </a:spcBef>
              <a:spcAft>
                <a:spcPct val="0"/>
              </a:spcAft>
              <a:defRPr>
                <a:latin typeface="Arial" charset="0"/>
              </a:defRPr>
            </a:lvl1pPr>
          </a:lstStyle>
          <a:p>
            <a:pPr>
              <a:defRPr/>
            </a:pPr>
            <a:endParaRPr lang="ru-RU"/>
          </a:p>
        </p:txBody>
      </p:sp>
      <p:sp>
        <p:nvSpPr>
          <p:cNvPr id="4" name="Номер слайда 3"/>
          <p:cNvSpPr>
            <a:spLocks noGrp="1"/>
          </p:cNvSpPr>
          <p:nvPr>
            <p:ph type="sldNum" sz="quarter" idx="12"/>
          </p:nvPr>
        </p:nvSpPr>
        <p:spPr/>
        <p:txBody>
          <a:bodyPr/>
          <a:lstStyle>
            <a:lvl1pPr eaLnBrk="0" fontAlgn="base" hangingPunct="0">
              <a:spcBef>
                <a:spcPct val="0"/>
              </a:spcBef>
              <a:spcAft>
                <a:spcPct val="0"/>
              </a:spcAft>
              <a:defRPr>
                <a:latin typeface="Arial" charset="0"/>
              </a:defRPr>
            </a:lvl1pPr>
          </a:lstStyle>
          <a:p>
            <a:pPr>
              <a:defRPr/>
            </a:pPr>
            <a:fld id="{28CF509D-9CC7-41A6-B0CD-CC6DB79682E6}" type="slidenum">
              <a:rPr lang="ru-RU"/>
              <a:pPr>
                <a:defRPr/>
              </a:pPr>
              <a:t>‹#›</a:t>
            </a:fld>
            <a:endParaRPr lang="ru-RU"/>
          </a:p>
        </p:txBody>
      </p:sp>
    </p:spTree>
    <p:extLst>
      <p:ext uri="{BB962C8B-B14F-4D97-AF65-F5344CB8AC3E}">
        <p14:creationId xmlns:p14="http://schemas.microsoft.com/office/powerpoint/2010/main" val="169927825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02679075"/>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320077785"/>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29720610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35351786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24690617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211884608"/>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820110025"/>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49149036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44628459"/>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508968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B4C71EC6-210F-42DE-9C53-41977AD35B3D}" type="datetimeFigureOut">
              <a:rPr lang="ru-RU" smtClean="0"/>
              <a:t>16.12.2021</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lvl1pPr eaLnBrk="0" fontAlgn="base" hangingPunct="0">
              <a:spcBef>
                <a:spcPct val="0"/>
              </a:spcBef>
              <a:spcAft>
                <a:spcPct val="0"/>
              </a:spcAft>
              <a:defRPr>
                <a:latin typeface="Arial" charset="0"/>
              </a:defRPr>
            </a:lvl1pPr>
          </a:lstStyle>
          <a:p>
            <a:pPr>
              <a:defRPr/>
            </a:pPr>
            <a:fld id="{D19751D8-0300-43CD-8F6C-6F62295EE670}" type="datetimeFigureOut">
              <a:rPr lang="ru-RU"/>
              <a:pPr>
                <a:defRPr/>
              </a:pPr>
              <a:t>16.12.2021</a:t>
            </a:fld>
            <a:endParaRPr lang="ru-RU"/>
          </a:p>
        </p:txBody>
      </p:sp>
      <p:sp>
        <p:nvSpPr>
          <p:cNvPr id="6" name="Нижний колонтитул 5"/>
          <p:cNvSpPr>
            <a:spLocks noGrp="1"/>
          </p:cNvSpPr>
          <p:nvPr>
            <p:ph type="ftr" sz="quarter" idx="11"/>
          </p:nvPr>
        </p:nvSpPr>
        <p:spPr/>
        <p:txBody>
          <a:bodyPr/>
          <a:lstStyle>
            <a:lvl1pPr eaLnBrk="0" fontAlgn="base" hangingPunct="0">
              <a:spcBef>
                <a:spcPct val="0"/>
              </a:spcBef>
              <a:spcAft>
                <a:spcPct val="0"/>
              </a:spcAft>
              <a:defRPr>
                <a:latin typeface="Arial" charset="0"/>
              </a:defRPr>
            </a:lvl1pPr>
          </a:lstStyle>
          <a:p>
            <a:pPr>
              <a:defRPr/>
            </a:pPr>
            <a:endParaRPr lang="ru-RU"/>
          </a:p>
        </p:txBody>
      </p:sp>
      <p:sp>
        <p:nvSpPr>
          <p:cNvPr id="7" name="Номер слайда 6"/>
          <p:cNvSpPr>
            <a:spLocks noGrp="1"/>
          </p:cNvSpPr>
          <p:nvPr>
            <p:ph type="sldNum" sz="quarter" idx="12"/>
          </p:nvPr>
        </p:nvSpPr>
        <p:spPr/>
        <p:txBody>
          <a:bodyPr/>
          <a:lstStyle>
            <a:lvl1pPr eaLnBrk="0" fontAlgn="base" hangingPunct="0">
              <a:spcBef>
                <a:spcPct val="0"/>
              </a:spcBef>
              <a:spcAft>
                <a:spcPct val="0"/>
              </a:spcAft>
              <a:defRPr>
                <a:latin typeface="Arial" charset="0"/>
              </a:defRPr>
            </a:lvl1pPr>
          </a:lstStyle>
          <a:p>
            <a:pPr>
              <a:defRPr/>
            </a:pPr>
            <a:fld id="{5D58C960-E335-4C72-BD7E-EA0B0A5524F8}" type="slidenum">
              <a:rPr lang="ru-RU"/>
              <a:pPr>
                <a:defRPr/>
              </a:pPr>
              <a:t>‹#›</a:t>
            </a:fld>
            <a:endParaRPr lang="ru-RU"/>
          </a:p>
        </p:txBody>
      </p:sp>
    </p:spTree>
    <p:extLst>
      <p:ext uri="{BB962C8B-B14F-4D97-AF65-F5344CB8AC3E}">
        <p14:creationId xmlns:p14="http://schemas.microsoft.com/office/powerpoint/2010/main" val="9610745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485249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520991365"/>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3696703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82501180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67099694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126423853"/>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28026793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73243921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275896168"/>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0335352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smtClean="0"/>
              <a:t>Вставка рисунка</a:t>
            </a:r>
            <a:endParaRPr lang="ru-RU" noProof="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lvl1pPr eaLnBrk="0" fontAlgn="base" hangingPunct="0">
              <a:spcBef>
                <a:spcPct val="0"/>
              </a:spcBef>
              <a:spcAft>
                <a:spcPct val="0"/>
              </a:spcAft>
              <a:defRPr>
                <a:latin typeface="Arial" charset="0"/>
              </a:defRPr>
            </a:lvl1pPr>
          </a:lstStyle>
          <a:p>
            <a:pPr>
              <a:defRPr/>
            </a:pPr>
            <a:fld id="{8E2C1A88-3D83-46C3-8874-321633B36D05}" type="datetimeFigureOut">
              <a:rPr lang="ru-RU"/>
              <a:pPr>
                <a:defRPr/>
              </a:pPr>
              <a:t>16.12.2021</a:t>
            </a:fld>
            <a:endParaRPr lang="ru-RU"/>
          </a:p>
        </p:txBody>
      </p:sp>
      <p:sp>
        <p:nvSpPr>
          <p:cNvPr id="6" name="Нижний колонтитул 5"/>
          <p:cNvSpPr>
            <a:spLocks noGrp="1"/>
          </p:cNvSpPr>
          <p:nvPr>
            <p:ph type="ftr" sz="quarter" idx="11"/>
          </p:nvPr>
        </p:nvSpPr>
        <p:spPr/>
        <p:txBody>
          <a:bodyPr/>
          <a:lstStyle>
            <a:lvl1pPr eaLnBrk="0" fontAlgn="base" hangingPunct="0">
              <a:spcBef>
                <a:spcPct val="0"/>
              </a:spcBef>
              <a:spcAft>
                <a:spcPct val="0"/>
              </a:spcAft>
              <a:defRPr>
                <a:latin typeface="Arial" charset="0"/>
              </a:defRPr>
            </a:lvl1pPr>
          </a:lstStyle>
          <a:p>
            <a:pPr>
              <a:defRPr/>
            </a:pPr>
            <a:endParaRPr lang="ru-RU"/>
          </a:p>
        </p:txBody>
      </p:sp>
      <p:sp>
        <p:nvSpPr>
          <p:cNvPr id="7" name="Номер слайда 6"/>
          <p:cNvSpPr>
            <a:spLocks noGrp="1"/>
          </p:cNvSpPr>
          <p:nvPr>
            <p:ph type="sldNum" sz="quarter" idx="12"/>
          </p:nvPr>
        </p:nvSpPr>
        <p:spPr/>
        <p:txBody>
          <a:bodyPr/>
          <a:lstStyle>
            <a:lvl1pPr eaLnBrk="0" fontAlgn="base" hangingPunct="0">
              <a:spcBef>
                <a:spcPct val="0"/>
              </a:spcBef>
              <a:spcAft>
                <a:spcPct val="0"/>
              </a:spcAft>
              <a:defRPr>
                <a:latin typeface="Arial" charset="0"/>
              </a:defRPr>
            </a:lvl1pPr>
          </a:lstStyle>
          <a:p>
            <a:pPr>
              <a:defRPr/>
            </a:pPr>
            <a:fld id="{0C724224-A1FF-4621-9E48-1E930DBEB105}" type="slidenum">
              <a:rPr lang="ru-RU"/>
              <a:pPr>
                <a:defRPr/>
              </a:pPr>
              <a:t>‹#›</a:t>
            </a:fld>
            <a:endParaRPr lang="ru-RU"/>
          </a:p>
        </p:txBody>
      </p:sp>
    </p:spTree>
    <p:extLst>
      <p:ext uri="{BB962C8B-B14F-4D97-AF65-F5344CB8AC3E}">
        <p14:creationId xmlns:p14="http://schemas.microsoft.com/office/powerpoint/2010/main" val="1775117021"/>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811112050"/>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20367473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539526644"/>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43146716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1610571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107437502"/>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28416671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52811886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727564220"/>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0672359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eaLnBrk="0" fontAlgn="base" hangingPunct="0">
              <a:spcBef>
                <a:spcPct val="0"/>
              </a:spcBef>
              <a:spcAft>
                <a:spcPct val="0"/>
              </a:spcAft>
              <a:defRPr>
                <a:latin typeface="Arial" charset="0"/>
              </a:defRPr>
            </a:lvl1pPr>
          </a:lstStyle>
          <a:p>
            <a:pPr>
              <a:defRPr/>
            </a:pPr>
            <a:fld id="{E7C8F9C5-F168-4253-BA57-1FB2C93700E2}" type="datetimeFigureOut">
              <a:rPr lang="ru-RU"/>
              <a:pPr>
                <a:defRPr/>
              </a:pPr>
              <a:t>16.12.2021</a:t>
            </a:fld>
            <a:endParaRPr lang="ru-RU"/>
          </a:p>
        </p:txBody>
      </p:sp>
      <p:sp>
        <p:nvSpPr>
          <p:cNvPr id="5" name="Нижний колонтитул 4"/>
          <p:cNvSpPr>
            <a:spLocks noGrp="1"/>
          </p:cNvSpPr>
          <p:nvPr>
            <p:ph type="ftr" sz="quarter" idx="11"/>
          </p:nvPr>
        </p:nvSpPr>
        <p:spPr/>
        <p:txBody>
          <a:bodyPr/>
          <a:lstStyle>
            <a:lvl1pPr eaLnBrk="0" fontAlgn="base" hangingPunct="0">
              <a:spcBef>
                <a:spcPct val="0"/>
              </a:spcBef>
              <a:spcAft>
                <a:spcPct val="0"/>
              </a:spcAft>
              <a:defRPr>
                <a:latin typeface="Arial" charset="0"/>
              </a:defRPr>
            </a:lvl1pPr>
          </a:lstStyle>
          <a:p>
            <a:pPr>
              <a:defRPr/>
            </a:pPr>
            <a:endParaRPr lang="ru-RU"/>
          </a:p>
        </p:txBody>
      </p:sp>
      <p:sp>
        <p:nvSpPr>
          <p:cNvPr id="6" name="Номер слайда 5"/>
          <p:cNvSpPr>
            <a:spLocks noGrp="1"/>
          </p:cNvSpPr>
          <p:nvPr>
            <p:ph type="sldNum" sz="quarter" idx="12"/>
          </p:nvPr>
        </p:nvSpPr>
        <p:spPr/>
        <p:txBody>
          <a:bodyPr/>
          <a:lstStyle>
            <a:lvl1pPr eaLnBrk="0" fontAlgn="base" hangingPunct="0">
              <a:spcBef>
                <a:spcPct val="0"/>
              </a:spcBef>
              <a:spcAft>
                <a:spcPct val="0"/>
              </a:spcAft>
              <a:defRPr>
                <a:latin typeface="Arial" charset="0"/>
              </a:defRPr>
            </a:lvl1pPr>
          </a:lstStyle>
          <a:p>
            <a:pPr>
              <a:defRPr/>
            </a:pPr>
            <a:fld id="{2365DC83-5DCF-42E8-8B4B-8C7E26050B45}" type="slidenum">
              <a:rPr lang="ru-RU"/>
              <a:pPr>
                <a:defRPr/>
              </a:pPr>
              <a:t>‹#›</a:t>
            </a:fld>
            <a:endParaRPr lang="ru-RU"/>
          </a:p>
        </p:txBody>
      </p:sp>
    </p:spTree>
    <p:extLst>
      <p:ext uri="{BB962C8B-B14F-4D97-AF65-F5344CB8AC3E}">
        <p14:creationId xmlns:p14="http://schemas.microsoft.com/office/powerpoint/2010/main" val="2073661667"/>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55424432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74044227"/>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68725336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772953873"/>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42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E284F7A7-E83D-43AC-936A-96321E19E053}" type="slidenum">
              <a:rPr lang="ru-RU"/>
              <a:pPr>
                <a:defRPr/>
              </a:pPr>
              <a:t>‹#›</a:t>
            </a:fld>
            <a:endParaRPr lang="ru-RU"/>
          </a:p>
        </p:txBody>
      </p:sp>
    </p:spTree>
    <p:extLst>
      <p:ext uri="{BB962C8B-B14F-4D97-AF65-F5344CB8AC3E}">
        <p14:creationId xmlns:p14="http://schemas.microsoft.com/office/powerpoint/2010/main" val="1651754188"/>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4DC56BA7-1780-4713-B2AF-823C8EFB4E8F}" type="slidenum">
              <a:rPr lang="ru-RU"/>
              <a:pPr>
                <a:defRPr/>
              </a:pPr>
              <a:t>‹#›</a:t>
            </a:fld>
            <a:endParaRPr lang="ru-RU"/>
          </a:p>
        </p:txBody>
      </p:sp>
    </p:spTree>
    <p:extLst>
      <p:ext uri="{BB962C8B-B14F-4D97-AF65-F5344CB8AC3E}">
        <p14:creationId xmlns:p14="http://schemas.microsoft.com/office/powerpoint/2010/main" val="3929230456"/>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D64CDA07-B114-448D-9D3C-40220D81EB30}" type="slidenum">
              <a:rPr lang="ru-RU"/>
              <a:pPr>
                <a:defRPr/>
              </a:pPr>
              <a:t>‹#›</a:t>
            </a:fld>
            <a:endParaRPr lang="ru-RU"/>
          </a:p>
        </p:txBody>
      </p:sp>
    </p:spTree>
    <p:extLst>
      <p:ext uri="{BB962C8B-B14F-4D97-AF65-F5344CB8AC3E}">
        <p14:creationId xmlns:p14="http://schemas.microsoft.com/office/powerpoint/2010/main" val="4202673457"/>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FE4B77EA-2CD3-4D9A-8F15-81C675A9E190}" type="slidenum">
              <a:rPr lang="ru-RU"/>
              <a:pPr>
                <a:defRPr/>
              </a:pPr>
              <a:t>‹#›</a:t>
            </a:fld>
            <a:endParaRPr lang="ru-RU"/>
          </a:p>
        </p:txBody>
      </p:sp>
    </p:spTree>
    <p:extLst>
      <p:ext uri="{BB962C8B-B14F-4D97-AF65-F5344CB8AC3E}">
        <p14:creationId xmlns:p14="http://schemas.microsoft.com/office/powerpoint/2010/main" val="3826523992"/>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p>
        </p:txBody>
      </p:sp>
      <p:sp>
        <p:nvSpPr>
          <p:cNvPr id="8" name="Rectangle 5"/>
          <p:cNvSpPr>
            <a:spLocks noGrp="1" noChangeArrowheads="1"/>
          </p:cNvSpPr>
          <p:nvPr>
            <p:ph type="ftr" sz="quarter" idx="11"/>
          </p:nvPr>
        </p:nvSpPr>
        <p:spPr>
          <a:ln/>
        </p:spPr>
        <p:txBody>
          <a:bodyPr/>
          <a:lstStyle>
            <a:lvl1pPr>
              <a:defRPr/>
            </a:lvl1pPr>
          </a:lstStyle>
          <a:p>
            <a:pPr>
              <a:defRPr/>
            </a:pPr>
            <a:endParaRPr lang="ru-RU"/>
          </a:p>
        </p:txBody>
      </p:sp>
      <p:sp>
        <p:nvSpPr>
          <p:cNvPr id="9" name="Rectangle 6"/>
          <p:cNvSpPr>
            <a:spLocks noGrp="1" noChangeArrowheads="1"/>
          </p:cNvSpPr>
          <p:nvPr>
            <p:ph type="sldNum" sz="quarter" idx="12"/>
          </p:nvPr>
        </p:nvSpPr>
        <p:spPr>
          <a:ln/>
        </p:spPr>
        <p:txBody>
          <a:bodyPr/>
          <a:lstStyle>
            <a:lvl1pPr>
              <a:defRPr/>
            </a:lvl1pPr>
          </a:lstStyle>
          <a:p>
            <a:pPr>
              <a:defRPr/>
            </a:pPr>
            <a:fld id="{0206A2F0-F6F1-4621-8CBC-E78D77C6DAC2}" type="slidenum">
              <a:rPr lang="ru-RU"/>
              <a:pPr>
                <a:defRPr/>
              </a:pPr>
              <a:t>‹#›</a:t>
            </a:fld>
            <a:endParaRPr lang="ru-RU"/>
          </a:p>
        </p:txBody>
      </p:sp>
    </p:spTree>
    <p:extLst>
      <p:ext uri="{BB962C8B-B14F-4D97-AF65-F5344CB8AC3E}">
        <p14:creationId xmlns:p14="http://schemas.microsoft.com/office/powerpoint/2010/main" val="596206193"/>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CF9666E6-3037-4F26-BE4F-282FF565AD60}" type="slidenum">
              <a:rPr lang="ru-RU"/>
              <a:pPr>
                <a:defRPr/>
              </a:pPr>
              <a:t>‹#›</a:t>
            </a:fld>
            <a:endParaRPr lang="ru-RU"/>
          </a:p>
        </p:txBody>
      </p:sp>
    </p:spTree>
    <p:extLst>
      <p:ext uri="{BB962C8B-B14F-4D97-AF65-F5344CB8AC3E}">
        <p14:creationId xmlns:p14="http://schemas.microsoft.com/office/powerpoint/2010/main" val="28453114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639"/>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639"/>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eaLnBrk="0" fontAlgn="base" hangingPunct="0">
              <a:spcBef>
                <a:spcPct val="0"/>
              </a:spcBef>
              <a:spcAft>
                <a:spcPct val="0"/>
              </a:spcAft>
              <a:defRPr>
                <a:latin typeface="Arial" charset="0"/>
              </a:defRPr>
            </a:lvl1pPr>
          </a:lstStyle>
          <a:p>
            <a:pPr>
              <a:defRPr/>
            </a:pPr>
            <a:fld id="{305A8EF0-12BE-4FD8-949D-675D5698CE0D}" type="datetimeFigureOut">
              <a:rPr lang="ru-RU"/>
              <a:pPr>
                <a:defRPr/>
              </a:pPr>
              <a:t>16.12.2021</a:t>
            </a:fld>
            <a:endParaRPr lang="ru-RU"/>
          </a:p>
        </p:txBody>
      </p:sp>
      <p:sp>
        <p:nvSpPr>
          <p:cNvPr id="5" name="Нижний колонтитул 4"/>
          <p:cNvSpPr>
            <a:spLocks noGrp="1"/>
          </p:cNvSpPr>
          <p:nvPr>
            <p:ph type="ftr" sz="quarter" idx="11"/>
          </p:nvPr>
        </p:nvSpPr>
        <p:spPr/>
        <p:txBody>
          <a:bodyPr/>
          <a:lstStyle>
            <a:lvl1pPr eaLnBrk="0" fontAlgn="base" hangingPunct="0">
              <a:spcBef>
                <a:spcPct val="0"/>
              </a:spcBef>
              <a:spcAft>
                <a:spcPct val="0"/>
              </a:spcAft>
              <a:defRPr>
                <a:latin typeface="Arial" charset="0"/>
              </a:defRPr>
            </a:lvl1pPr>
          </a:lstStyle>
          <a:p>
            <a:pPr>
              <a:defRPr/>
            </a:pPr>
            <a:endParaRPr lang="ru-RU"/>
          </a:p>
        </p:txBody>
      </p:sp>
      <p:sp>
        <p:nvSpPr>
          <p:cNvPr id="6" name="Номер слайда 5"/>
          <p:cNvSpPr>
            <a:spLocks noGrp="1"/>
          </p:cNvSpPr>
          <p:nvPr>
            <p:ph type="sldNum" sz="quarter" idx="12"/>
          </p:nvPr>
        </p:nvSpPr>
        <p:spPr/>
        <p:txBody>
          <a:bodyPr/>
          <a:lstStyle>
            <a:lvl1pPr eaLnBrk="0" fontAlgn="base" hangingPunct="0">
              <a:spcBef>
                <a:spcPct val="0"/>
              </a:spcBef>
              <a:spcAft>
                <a:spcPct val="0"/>
              </a:spcAft>
              <a:defRPr>
                <a:latin typeface="Arial" charset="0"/>
              </a:defRPr>
            </a:lvl1pPr>
          </a:lstStyle>
          <a:p>
            <a:pPr>
              <a:defRPr/>
            </a:pPr>
            <a:fld id="{33C9669B-92E1-4A76-AC88-3EBE2F34A653}" type="slidenum">
              <a:rPr lang="ru-RU"/>
              <a:pPr>
                <a:defRPr/>
              </a:pPr>
              <a:t>‹#›</a:t>
            </a:fld>
            <a:endParaRPr lang="ru-RU"/>
          </a:p>
        </p:txBody>
      </p:sp>
    </p:spTree>
    <p:extLst>
      <p:ext uri="{BB962C8B-B14F-4D97-AF65-F5344CB8AC3E}">
        <p14:creationId xmlns:p14="http://schemas.microsoft.com/office/powerpoint/2010/main" val="224200745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p>
        </p:txBody>
      </p:sp>
      <p:sp>
        <p:nvSpPr>
          <p:cNvPr id="3" name="Rectangle 5"/>
          <p:cNvSpPr>
            <a:spLocks noGrp="1" noChangeArrowheads="1"/>
          </p:cNvSpPr>
          <p:nvPr>
            <p:ph type="ftr" sz="quarter" idx="11"/>
          </p:nvPr>
        </p:nvSpPr>
        <p:spPr>
          <a:ln/>
        </p:spPr>
        <p:txBody>
          <a:bodyPr/>
          <a:lstStyle>
            <a:lvl1pPr>
              <a:defRPr/>
            </a:lvl1pPr>
          </a:lstStyle>
          <a:p>
            <a:pPr>
              <a:defRPr/>
            </a:pPr>
            <a:endParaRPr lang="ru-RU"/>
          </a:p>
        </p:txBody>
      </p:sp>
      <p:sp>
        <p:nvSpPr>
          <p:cNvPr id="4" name="Rectangle 6"/>
          <p:cNvSpPr>
            <a:spLocks noGrp="1" noChangeArrowheads="1"/>
          </p:cNvSpPr>
          <p:nvPr>
            <p:ph type="sldNum" sz="quarter" idx="12"/>
          </p:nvPr>
        </p:nvSpPr>
        <p:spPr>
          <a:ln/>
        </p:spPr>
        <p:txBody>
          <a:bodyPr/>
          <a:lstStyle>
            <a:lvl1pPr>
              <a:defRPr/>
            </a:lvl1pPr>
          </a:lstStyle>
          <a:p>
            <a:pPr>
              <a:defRPr/>
            </a:pPr>
            <a:fld id="{6D29CAEC-4C5B-46AB-926C-183526C084A7}" type="slidenum">
              <a:rPr lang="ru-RU"/>
              <a:pPr>
                <a:defRPr/>
              </a:pPr>
              <a:t>‹#›</a:t>
            </a:fld>
            <a:endParaRPr lang="ru-RU"/>
          </a:p>
        </p:txBody>
      </p:sp>
    </p:spTree>
    <p:extLst>
      <p:ext uri="{BB962C8B-B14F-4D97-AF65-F5344CB8AC3E}">
        <p14:creationId xmlns:p14="http://schemas.microsoft.com/office/powerpoint/2010/main" val="383354406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687ACA4E-4822-4647-805F-87DB27BCA3C4}" type="slidenum">
              <a:rPr lang="ru-RU"/>
              <a:pPr>
                <a:defRPr/>
              </a:pPr>
              <a:t>‹#›</a:t>
            </a:fld>
            <a:endParaRPr lang="ru-RU"/>
          </a:p>
        </p:txBody>
      </p:sp>
    </p:spTree>
    <p:extLst>
      <p:ext uri="{BB962C8B-B14F-4D97-AF65-F5344CB8AC3E}">
        <p14:creationId xmlns:p14="http://schemas.microsoft.com/office/powerpoint/2010/main" val="1700979361"/>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780668BA-ECA5-47C9-87E8-CB562F6B007E}" type="slidenum">
              <a:rPr lang="ru-RU"/>
              <a:pPr>
                <a:defRPr/>
              </a:pPr>
              <a:t>‹#›</a:t>
            </a:fld>
            <a:endParaRPr lang="ru-RU"/>
          </a:p>
        </p:txBody>
      </p:sp>
    </p:spTree>
    <p:extLst>
      <p:ext uri="{BB962C8B-B14F-4D97-AF65-F5344CB8AC3E}">
        <p14:creationId xmlns:p14="http://schemas.microsoft.com/office/powerpoint/2010/main" val="2825386286"/>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448DAD4A-E67E-40CA-883C-919CD2B6342E}" type="slidenum">
              <a:rPr lang="ru-RU"/>
              <a:pPr>
                <a:defRPr/>
              </a:pPr>
              <a:t>‹#›</a:t>
            </a:fld>
            <a:endParaRPr lang="ru-RU"/>
          </a:p>
        </p:txBody>
      </p:sp>
    </p:spTree>
    <p:extLst>
      <p:ext uri="{BB962C8B-B14F-4D97-AF65-F5344CB8AC3E}">
        <p14:creationId xmlns:p14="http://schemas.microsoft.com/office/powerpoint/2010/main" val="1587249229"/>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639"/>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639"/>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AB914970-B060-4C97-AB42-982799136A78}" type="slidenum">
              <a:rPr lang="ru-RU"/>
              <a:pPr>
                <a:defRPr/>
              </a:pPr>
              <a:t>‹#›</a:t>
            </a:fld>
            <a:endParaRPr lang="ru-RU"/>
          </a:p>
        </p:txBody>
      </p:sp>
    </p:spTree>
    <p:extLst>
      <p:ext uri="{BB962C8B-B14F-4D97-AF65-F5344CB8AC3E}">
        <p14:creationId xmlns:p14="http://schemas.microsoft.com/office/powerpoint/2010/main" val="907679753"/>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52505758-087B-4C52-933D-3FF1006A173D}" type="slidenum">
              <a:rPr lang="ru-RU"/>
              <a:pPr>
                <a:defRPr/>
              </a:pPr>
              <a:t>‹#›</a:t>
            </a:fld>
            <a:endParaRPr lang="ru-RU"/>
          </a:p>
        </p:txBody>
      </p:sp>
    </p:spTree>
    <p:extLst>
      <p:ext uri="{BB962C8B-B14F-4D97-AF65-F5344CB8AC3E}">
        <p14:creationId xmlns:p14="http://schemas.microsoft.com/office/powerpoint/2010/main" val="257626506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1"/>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FC67A6BD-4F80-469D-AF9B-2ADF733891B0}" type="slidenum">
              <a:rPr lang="ru-RU"/>
              <a:pPr>
                <a:defRPr/>
              </a:pPr>
              <a:t>‹#›</a:t>
            </a:fld>
            <a:endParaRPr lang="ru-RU"/>
          </a:p>
        </p:txBody>
      </p:sp>
    </p:spTree>
    <p:extLst>
      <p:ext uri="{BB962C8B-B14F-4D97-AF65-F5344CB8AC3E}">
        <p14:creationId xmlns:p14="http://schemas.microsoft.com/office/powerpoint/2010/main" val="2781010121"/>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639"/>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D8390686-2872-425C-BF66-9D31032FF78F}" type="slidenum">
              <a:rPr lang="ru-RU"/>
              <a:pPr>
                <a:defRPr/>
              </a:pPr>
              <a:t>‹#›</a:t>
            </a:fld>
            <a:endParaRPr lang="ru-RU"/>
          </a:p>
        </p:txBody>
      </p:sp>
    </p:spTree>
    <p:extLst>
      <p:ext uri="{BB962C8B-B14F-4D97-AF65-F5344CB8AC3E}">
        <p14:creationId xmlns:p14="http://schemas.microsoft.com/office/powerpoint/2010/main" val="22419452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1"/>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66D7E4F5-026A-4DE0-8BB6-A0E05526AA13}" type="slidenum">
              <a:rPr lang="ru-RU"/>
              <a:pPr>
                <a:defRPr/>
              </a:pPr>
              <a:t>‹#›</a:t>
            </a:fld>
            <a:endParaRPr lang="ru-RU"/>
          </a:p>
        </p:txBody>
      </p:sp>
    </p:spTree>
    <p:extLst>
      <p:ext uri="{BB962C8B-B14F-4D97-AF65-F5344CB8AC3E}">
        <p14:creationId xmlns:p14="http://schemas.microsoft.com/office/powerpoint/2010/main" val="3260419893"/>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589"/>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p>
        </p:txBody>
      </p:sp>
      <p:sp>
        <p:nvSpPr>
          <p:cNvPr id="7" name="Rectangle 5"/>
          <p:cNvSpPr>
            <a:spLocks noGrp="1" noChangeArrowheads="1"/>
          </p:cNvSpPr>
          <p:nvPr>
            <p:ph type="ftr" sz="quarter" idx="11"/>
          </p:nvPr>
        </p:nvSpPr>
        <p:spPr>
          <a:ln/>
        </p:spPr>
        <p:txBody>
          <a:bodyPr/>
          <a:lstStyle>
            <a:lvl1pPr>
              <a:defRPr/>
            </a:lvl1pPr>
          </a:lstStyle>
          <a:p>
            <a:pPr>
              <a:defRPr/>
            </a:pPr>
            <a:endParaRPr lang="ru-RU"/>
          </a:p>
        </p:txBody>
      </p:sp>
      <p:sp>
        <p:nvSpPr>
          <p:cNvPr id="8" name="Rectangle 6"/>
          <p:cNvSpPr>
            <a:spLocks noGrp="1" noChangeArrowheads="1"/>
          </p:cNvSpPr>
          <p:nvPr>
            <p:ph type="sldNum" sz="quarter" idx="12"/>
          </p:nvPr>
        </p:nvSpPr>
        <p:spPr>
          <a:ln/>
        </p:spPr>
        <p:txBody>
          <a:bodyPr/>
          <a:lstStyle>
            <a:lvl1pPr>
              <a:defRPr/>
            </a:lvl1pPr>
          </a:lstStyle>
          <a:p>
            <a:pPr>
              <a:defRPr/>
            </a:pPr>
            <a:fld id="{1F899739-8630-4326-BD9F-7B03D0F487E4}" type="slidenum">
              <a:rPr lang="ru-RU"/>
              <a:pPr>
                <a:defRPr/>
              </a:pPr>
              <a:t>‹#›</a:t>
            </a:fld>
            <a:endParaRPr lang="ru-RU"/>
          </a:p>
        </p:txBody>
      </p:sp>
    </p:spTree>
    <p:extLst>
      <p:ext uri="{BB962C8B-B14F-4D97-AF65-F5344CB8AC3E}">
        <p14:creationId xmlns:p14="http://schemas.microsoft.com/office/powerpoint/2010/main" val="28039707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xAndObj">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381000"/>
            <a:ext cx="10972800" cy="13716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981200"/>
            <a:ext cx="5384800" cy="41148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981200"/>
            <a:ext cx="5384800" cy="41148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a:xfrm>
            <a:off x="609600" y="6245225"/>
            <a:ext cx="2844800" cy="476250"/>
          </a:xfrm>
        </p:spPr>
        <p:txBody>
          <a:bodyPr/>
          <a:lstStyle>
            <a:lvl1pPr eaLnBrk="0" fontAlgn="base" hangingPunct="0">
              <a:spcBef>
                <a:spcPct val="0"/>
              </a:spcBef>
              <a:spcAft>
                <a:spcPct val="0"/>
              </a:spcAft>
              <a:defRPr>
                <a:latin typeface="Arial" pitchFamily="34" charset="0"/>
              </a:defRPr>
            </a:lvl1pPr>
          </a:lstStyle>
          <a:p>
            <a:pPr>
              <a:defRPr/>
            </a:pPr>
            <a:endParaRPr lang="ru-RU"/>
          </a:p>
        </p:txBody>
      </p:sp>
      <p:sp>
        <p:nvSpPr>
          <p:cNvPr id="6" name="Нижний колонтитул 5"/>
          <p:cNvSpPr>
            <a:spLocks noGrp="1"/>
          </p:cNvSpPr>
          <p:nvPr>
            <p:ph type="ftr" sz="quarter" idx="11"/>
          </p:nvPr>
        </p:nvSpPr>
        <p:spPr>
          <a:xfrm>
            <a:off x="4165600" y="6245225"/>
            <a:ext cx="3860800" cy="476250"/>
          </a:xfrm>
        </p:spPr>
        <p:txBody>
          <a:bodyPr/>
          <a:lstStyle>
            <a:lvl1pPr eaLnBrk="0" fontAlgn="base" hangingPunct="0">
              <a:spcBef>
                <a:spcPct val="0"/>
              </a:spcBef>
              <a:spcAft>
                <a:spcPct val="0"/>
              </a:spcAft>
              <a:defRPr>
                <a:latin typeface="Arial" pitchFamily="34" charset="0"/>
              </a:defRPr>
            </a:lvl1pPr>
          </a:lstStyle>
          <a:p>
            <a:pPr>
              <a:defRPr/>
            </a:pPr>
            <a:endParaRPr lang="ru-RU"/>
          </a:p>
        </p:txBody>
      </p:sp>
      <p:sp>
        <p:nvSpPr>
          <p:cNvPr id="7" name="Номер слайда 6"/>
          <p:cNvSpPr>
            <a:spLocks noGrp="1"/>
          </p:cNvSpPr>
          <p:nvPr>
            <p:ph type="sldNum" sz="quarter" idx="12"/>
          </p:nvPr>
        </p:nvSpPr>
        <p:spPr>
          <a:xfrm>
            <a:off x="8737600" y="6245225"/>
            <a:ext cx="2844800" cy="476250"/>
          </a:xfrm>
        </p:spPr>
        <p:txBody>
          <a:bodyPr/>
          <a:lstStyle>
            <a:lvl1pPr eaLnBrk="0" fontAlgn="base" hangingPunct="0">
              <a:spcBef>
                <a:spcPct val="0"/>
              </a:spcBef>
              <a:spcAft>
                <a:spcPct val="0"/>
              </a:spcAft>
              <a:defRPr>
                <a:latin typeface="Arial" pitchFamily="34" charset="0"/>
              </a:defRPr>
            </a:lvl1pPr>
          </a:lstStyle>
          <a:p>
            <a:pPr>
              <a:defRPr/>
            </a:pPr>
            <a:fld id="{11662A96-D989-4771-AF92-2AC93D775E1A}" type="slidenum">
              <a:rPr lang="ru-RU"/>
              <a:pPr>
                <a:defRPr/>
              </a:pPr>
              <a:t>‹#›</a:t>
            </a:fld>
            <a:endParaRPr lang="ru-RU"/>
          </a:p>
        </p:txBody>
      </p:sp>
    </p:spTree>
    <p:extLst>
      <p:ext uri="{BB962C8B-B14F-4D97-AF65-F5344CB8AC3E}">
        <p14:creationId xmlns:p14="http://schemas.microsoft.com/office/powerpoint/2010/main" val="3959917704"/>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1"/>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89F3592F-04F4-4D1E-8AB6-ADEFDFEA9AEB}" type="slidenum">
              <a:rPr lang="ru-RU"/>
              <a:pPr>
                <a:defRPr/>
              </a:pPr>
              <a:t>‹#›</a:t>
            </a:fld>
            <a:endParaRPr lang="ru-RU"/>
          </a:p>
        </p:txBody>
      </p:sp>
    </p:spTree>
    <p:extLst>
      <p:ext uri="{BB962C8B-B14F-4D97-AF65-F5344CB8AC3E}">
        <p14:creationId xmlns:p14="http://schemas.microsoft.com/office/powerpoint/2010/main" val="115075906"/>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589"/>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4383E72E-1649-438A-8930-E83AF95D57EE}" type="slidenum">
              <a:rPr lang="ru-RU"/>
              <a:pPr>
                <a:defRPr/>
              </a:pPr>
              <a:t>‹#›</a:t>
            </a:fld>
            <a:endParaRPr lang="ru-RU"/>
          </a:p>
        </p:txBody>
      </p:sp>
    </p:spTree>
    <p:extLst>
      <p:ext uri="{BB962C8B-B14F-4D97-AF65-F5344CB8AC3E}">
        <p14:creationId xmlns:p14="http://schemas.microsoft.com/office/powerpoint/2010/main" val="3753343194"/>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589"/>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p>
        </p:txBody>
      </p:sp>
      <p:sp>
        <p:nvSpPr>
          <p:cNvPr id="7" name="Rectangle 5"/>
          <p:cNvSpPr>
            <a:spLocks noGrp="1" noChangeArrowheads="1"/>
          </p:cNvSpPr>
          <p:nvPr>
            <p:ph type="ftr" sz="quarter" idx="11"/>
          </p:nvPr>
        </p:nvSpPr>
        <p:spPr>
          <a:ln/>
        </p:spPr>
        <p:txBody>
          <a:bodyPr/>
          <a:lstStyle>
            <a:lvl1pPr>
              <a:defRPr/>
            </a:lvl1pPr>
          </a:lstStyle>
          <a:p>
            <a:pPr>
              <a:defRPr/>
            </a:pPr>
            <a:endParaRPr lang="ru-RU"/>
          </a:p>
        </p:txBody>
      </p:sp>
      <p:sp>
        <p:nvSpPr>
          <p:cNvPr id="8" name="Rectangle 6"/>
          <p:cNvSpPr>
            <a:spLocks noGrp="1" noChangeArrowheads="1"/>
          </p:cNvSpPr>
          <p:nvPr>
            <p:ph type="sldNum" sz="quarter" idx="12"/>
          </p:nvPr>
        </p:nvSpPr>
        <p:spPr>
          <a:ln/>
        </p:spPr>
        <p:txBody>
          <a:bodyPr/>
          <a:lstStyle>
            <a:lvl1pPr>
              <a:defRPr/>
            </a:lvl1pPr>
          </a:lstStyle>
          <a:p>
            <a:pPr>
              <a:defRPr/>
            </a:pPr>
            <a:fld id="{74C00151-3189-48F7-B354-13F5DAF33956}" type="slidenum">
              <a:rPr lang="ru-RU"/>
              <a:pPr>
                <a:defRPr/>
              </a:pPr>
              <a:t>‹#›</a:t>
            </a:fld>
            <a:endParaRPr lang="ru-RU"/>
          </a:p>
        </p:txBody>
      </p:sp>
    </p:spTree>
    <p:extLst>
      <p:ext uri="{BB962C8B-B14F-4D97-AF65-F5344CB8AC3E}">
        <p14:creationId xmlns:p14="http://schemas.microsoft.com/office/powerpoint/2010/main" val="4023709955"/>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589"/>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p>
        </p:txBody>
      </p:sp>
      <p:sp>
        <p:nvSpPr>
          <p:cNvPr id="7" name="Rectangle 5"/>
          <p:cNvSpPr>
            <a:spLocks noGrp="1" noChangeArrowheads="1"/>
          </p:cNvSpPr>
          <p:nvPr>
            <p:ph type="ftr" sz="quarter" idx="11"/>
          </p:nvPr>
        </p:nvSpPr>
        <p:spPr>
          <a:ln/>
        </p:spPr>
        <p:txBody>
          <a:bodyPr/>
          <a:lstStyle>
            <a:lvl1pPr>
              <a:defRPr/>
            </a:lvl1pPr>
          </a:lstStyle>
          <a:p>
            <a:pPr>
              <a:defRPr/>
            </a:pPr>
            <a:endParaRPr lang="ru-RU"/>
          </a:p>
        </p:txBody>
      </p:sp>
      <p:sp>
        <p:nvSpPr>
          <p:cNvPr id="8" name="Rectangle 6"/>
          <p:cNvSpPr>
            <a:spLocks noGrp="1" noChangeArrowheads="1"/>
          </p:cNvSpPr>
          <p:nvPr>
            <p:ph type="sldNum" sz="quarter" idx="12"/>
          </p:nvPr>
        </p:nvSpPr>
        <p:spPr>
          <a:ln/>
        </p:spPr>
        <p:txBody>
          <a:bodyPr/>
          <a:lstStyle>
            <a:lvl1pPr>
              <a:defRPr/>
            </a:lvl1pPr>
          </a:lstStyle>
          <a:p>
            <a:pPr>
              <a:defRPr/>
            </a:pPr>
            <a:fld id="{D4BB80A6-58E4-49D9-B737-148BB694B6AB}" type="slidenum">
              <a:rPr lang="ru-RU"/>
              <a:pPr>
                <a:defRPr/>
              </a:pPr>
              <a:t>‹#›</a:t>
            </a:fld>
            <a:endParaRPr lang="ru-RU"/>
          </a:p>
        </p:txBody>
      </p:sp>
    </p:spTree>
    <p:extLst>
      <p:ext uri="{BB962C8B-B14F-4D97-AF65-F5344CB8AC3E}">
        <p14:creationId xmlns:p14="http://schemas.microsoft.com/office/powerpoint/2010/main" val="416637161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1"/>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5BDA70E4-3756-48C2-887F-4D430D459BCC}" type="slidenum">
              <a:rPr lang="ru-RU"/>
              <a:pPr>
                <a:defRPr/>
              </a:pPr>
              <a:t>‹#›</a:t>
            </a:fld>
            <a:endParaRPr lang="ru-RU"/>
          </a:p>
        </p:txBody>
      </p:sp>
    </p:spTree>
    <p:extLst>
      <p:ext uri="{BB962C8B-B14F-4D97-AF65-F5344CB8AC3E}">
        <p14:creationId xmlns:p14="http://schemas.microsoft.com/office/powerpoint/2010/main" val="559965882"/>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objOverTx">
  <p:cSld name="Заголовок и объект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0" y="3938589"/>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52877F7E-3197-43AA-A04B-03E6C97743A9}" type="slidenum">
              <a:rPr lang="ru-RU"/>
              <a:pPr>
                <a:defRPr/>
              </a:pPr>
              <a:t>‹#›</a:t>
            </a:fld>
            <a:endParaRPr lang="ru-RU"/>
          </a:p>
        </p:txBody>
      </p:sp>
    </p:spTree>
    <p:extLst>
      <p:ext uri="{BB962C8B-B14F-4D97-AF65-F5344CB8AC3E}">
        <p14:creationId xmlns:p14="http://schemas.microsoft.com/office/powerpoint/2010/main" val="241547817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dgm">
  <p:cSld name="Заголовок, схема или организационная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7814"/>
            <a:ext cx="10972800" cy="1139825"/>
          </a:xfrm>
        </p:spPr>
        <p:txBody>
          <a:bodyPr/>
          <a:lstStyle/>
          <a:p>
            <a:r>
              <a:rPr lang="ru-RU" smtClean="0"/>
              <a:t>Образец заголовка</a:t>
            </a:r>
            <a:endParaRPr lang="ru-RU"/>
          </a:p>
        </p:txBody>
      </p:sp>
      <p:sp>
        <p:nvSpPr>
          <p:cNvPr id="3" name="Рисунок SmartArt 2"/>
          <p:cNvSpPr>
            <a:spLocks noGrp="1"/>
          </p:cNvSpPr>
          <p:nvPr>
            <p:ph type="dgm" idx="1"/>
          </p:nvPr>
        </p:nvSpPr>
        <p:spPr>
          <a:xfrm>
            <a:off x="609600" y="1600201"/>
            <a:ext cx="10972800" cy="4530725"/>
          </a:xfrm>
        </p:spPr>
        <p:txBody>
          <a:bodyPr/>
          <a:lstStyle/>
          <a:p>
            <a:pPr lvl="0"/>
            <a:endParaRPr lang="ru-RU" noProof="0"/>
          </a:p>
        </p:txBody>
      </p:sp>
      <p:sp>
        <p:nvSpPr>
          <p:cNvPr id="4" name="Дата 3"/>
          <p:cNvSpPr>
            <a:spLocks noGrp="1"/>
          </p:cNvSpPr>
          <p:nvPr>
            <p:ph type="dt" sz="half" idx="10"/>
          </p:nvPr>
        </p:nvSpPr>
        <p:spPr>
          <a:xfrm>
            <a:off x="609600" y="6243638"/>
            <a:ext cx="2844800" cy="457200"/>
          </a:xfrm>
        </p:spPr>
        <p:txBody>
          <a:bodyPr/>
          <a:lstStyle>
            <a:lvl1pPr>
              <a:defRPr/>
            </a:lvl1pPr>
          </a:lstStyle>
          <a:p>
            <a:pPr>
              <a:defRPr/>
            </a:pPr>
            <a:endParaRPr lang="ru-RU" altLang="en-US"/>
          </a:p>
        </p:txBody>
      </p:sp>
      <p:sp>
        <p:nvSpPr>
          <p:cNvPr id="5" name="Нижний колонтитул 4"/>
          <p:cNvSpPr>
            <a:spLocks noGrp="1"/>
          </p:cNvSpPr>
          <p:nvPr>
            <p:ph type="ftr" sz="quarter" idx="11"/>
          </p:nvPr>
        </p:nvSpPr>
        <p:spPr>
          <a:xfrm>
            <a:off x="4165600" y="6248400"/>
            <a:ext cx="3860800" cy="457200"/>
          </a:xfrm>
        </p:spPr>
        <p:txBody>
          <a:bodyPr/>
          <a:lstStyle>
            <a:lvl1pPr>
              <a:defRPr/>
            </a:lvl1pPr>
          </a:lstStyle>
          <a:p>
            <a:pPr>
              <a:defRPr/>
            </a:pPr>
            <a:endParaRPr lang="ru-RU" altLang="en-US"/>
          </a:p>
        </p:txBody>
      </p:sp>
      <p:sp>
        <p:nvSpPr>
          <p:cNvPr id="6" name="Номер слайда 5"/>
          <p:cNvSpPr>
            <a:spLocks noGrp="1"/>
          </p:cNvSpPr>
          <p:nvPr>
            <p:ph type="sldNum" sz="quarter" idx="12"/>
          </p:nvPr>
        </p:nvSpPr>
        <p:spPr>
          <a:xfrm>
            <a:off x="8737600" y="6243638"/>
            <a:ext cx="2844800" cy="457200"/>
          </a:xfrm>
        </p:spPr>
        <p:txBody>
          <a:bodyPr/>
          <a:lstStyle>
            <a:lvl1pPr>
              <a:defRPr/>
            </a:lvl1pPr>
          </a:lstStyle>
          <a:p>
            <a:pPr>
              <a:defRPr/>
            </a:pPr>
            <a:fld id="{B8EAC4DB-18DA-48D2-B29A-2508D931E698}" type="slidenum">
              <a:rPr lang="ru-RU" altLang="en-US"/>
              <a:pPr>
                <a:defRPr/>
              </a:pPr>
              <a:t>‹#›</a:t>
            </a:fld>
            <a:endParaRPr lang="ru-RU" altLang="en-US"/>
          </a:p>
        </p:txBody>
      </p:sp>
    </p:spTree>
    <p:extLst>
      <p:ext uri="{BB962C8B-B14F-4D97-AF65-F5344CB8AC3E}">
        <p14:creationId xmlns:p14="http://schemas.microsoft.com/office/powerpoint/2010/main" val="3504382411"/>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930594736"/>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134616"/>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C645F019-B6B7-4F05-BC18-A658BD55CC95}" type="slidenum">
              <a:rPr lang="en-US"/>
              <a:pPr>
                <a:defRPr/>
              </a:pPr>
              <a:t>‹#›</a:t>
            </a:fld>
            <a:endParaRPr lang="en-US"/>
          </a:p>
        </p:txBody>
      </p:sp>
    </p:spTree>
    <p:extLst>
      <p:ext uri="{BB962C8B-B14F-4D97-AF65-F5344CB8AC3E}">
        <p14:creationId xmlns:p14="http://schemas.microsoft.com/office/powerpoint/2010/main" val="9316788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AE8E14A0-CC4B-4888-A247-815364FDC416}" type="slidenum">
              <a:rPr lang="ru-RU"/>
              <a:pPr>
                <a:defRPr/>
              </a:pPr>
              <a:t>‹#›</a:t>
            </a:fld>
            <a:endParaRPr lang="ru-RU"/>
          </a:p>
        </p:txBody>
      </p:sp>
    </p:spTree>
    <p:extLst>
      <p:ext uri="{BB962C8B-B14F-4D97-AF65-F5344CB8AC3E}">
        <p14:creationId xmlns:p14="http://schemas.microsoft.com/office/powerpoint/2010/main" val="342783469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36A62BFA-EF9A-4923-A8B1-8690471A07F2}" type="slidenum">
              <a:rPr lang="en-US"/>
              <a:pPr>
                <a:defRPr/>
              </a:pPr>
              <a:t>‹#›</a:t>
            </a:fld>
            <a:endParaRPr lang="en-US"/>
          </a:p>
        </p:txBody>
      </p:sp>
    </p:spTree>
    <p:extLst>
      <p:ext uri="{BB962C8B-B14F-4D97-AF65-F5344CB8AC3E}">
        <p14:creationId xmlns:p14="http://schemas.microsoft.com/office/powerpoint/2010/main" val="2005460682"/>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0BF58029-2090-4810-A027-DB218592983E}" type="slidenum">
              <a:rPr lang="en-US"/>
              <a:pPr>
                <a:defRPr/>
              </a:pPr>
              <a:t>‹#›</a:t>
            </a:fld>
            <a:endParaRPr lang="en-US"/>
          </a:p>
        </p:txBody>
      </p:sp>
    </p:spTree>
    <p:extLst>
      <p:ext uri="{BB962C8B-B14F-4D97-AF65-F5344CB8AC3E}">
        <p14:creationId xmlns:p14="http://schemas.microsoft.com/office/powerpoint/2010/main" val="60723890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6E680024-A52E-4A9E-9E23-A167EA7955AC}" type="slidenum">
              <a:rPr lang="en-US"/>
              <a:pPr>
                <a:defRPr/>
              </a:pPr>
              <a:t>‹#›</a:t>
            </a:fld>
            <a:endParaRPr lang="en-US"/>
          </a:p>
        </p:txBody>
      </p:sp>
    </p:spTree>
    <p:extLst>
      <p:ext uri="{BB962C8B-B14F-4D97-AF65-F5344CB8AC3E}">
        <p14:creationId xmlns:p14="http://schemas.microsoft.com/office/powerpoint/2010/main" val="165544231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4" descr="Sub section.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2217510"/>
            <a:ext cx="10363200" cy="1470025"/>
          </a:xfrm>
        </p:spPr>
        <p:txBody>
          <a:bodyPr/>
          <a:lstStyle>
            <a:lvl1pPr>
              <a:defRPr sz="3600">
                <a:solidFill>
                  <a:schemeClr val="tx1"/>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2017925232"/>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24C62042-4C75-45D1-8DFA-CF8458CC8FA7}" type="slidenum">
              <a:rPr lang="en-US"/>
              <a:pPr>
                <a:defRPr/>
              </a:pPr>
              <a:t>‹#›</a:t>
            </a:fld>
            <a:endParaRPr lang="en-US"/>
          </a:p>
        </p:txBody>
      </p:sp>
    </p:spTree>
    <p:extLst>
      <p:ext uri="{BB962C8B-B14F-4D97-AF65-F5344CB8AC3E}">
        <p14:creationId xmlns:p14="http://schemas.microsoft.com/office/powerpoint/2010/main" val="3652603907"/>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1733" y="177800"/>
            <a:ext cx="11338560" cy="1003300"/>
          </a:xfrm>
        </p:spPr>
        <p:txBody>
          <a:bodyPr>
            <a:normAutofit/>
          </a:bodyPr>
          <a:lstStyle>
            <a:lvl1pPr>
              <a:defRPr sz="2600"/>
            </a:lvl1pPr>
          </a:lstStyle>
          <a:p>
            <a:r>
              <a:rPr lang="en-US" smtClean="0"/>
              <a:t>Click to edit Master title style</a:t>
            </a:r>
            <a:endParaRPr lang="en-GB" dirty="0"/>
          </a:p>
        </p:txBody>
      </p:sp>
      <p:sp>
        <p:nvSpPr>
          <p:cNvPr id="6" name="Content Placeholder 2"/>
          <p:cNvSpPr>
            <a:spLocks noGrp="1"/>
          </p:cNvSpPr>
          <p:nvPr>
            <p:ph idx="1"/>
          </p:nvPr>
        </p:nvSpPr>
        <p:spPr>
          <a:xfrm>
            <a:off x="321733" y="1351280"/>
            <a:ext cx="11338560" cy="5392420"/>
          </a:xfrm>
          <a:prstGeom prst="rect">
            <a:avLst/>
          </a:prstGeom>
        </p:spPr>
        <p:txBody>
          <a:bodyPr/>
          <a:lstStyle>
            <a:lvl1pPr>
              <a:buClr>
                <a:schemeClr val="accent1"/>
              </a:buClr>
              <a:defRPr/>
            </a:lvl1pPr>
            <a:lvl2pPr>
              <a:spcAft>
                <a:spcPts val="600"/>
              </a:spcAft>
              <a:buClr>
                <a:schemeClr val="accent1"/>
              </a:buClr>
              <a:defRPr/>
            </a:lvl2pPr>
            <a:lvl3pPr>
              <a:spcAft>
                <a:spcPts val="400"/>
              </a:spcAft>
              <a:buClr>
                <a:schemeClr val="accent1"/>
              </a:buClr>
              <a:defRPr/>
            </a:lvl3pPr>
            <a:lvl4pPr marL="1314450" indent="-171450">
              <a:spcAft>
                <a:spcPts val="400"/>
              </a:spcAft>
              <a:buClr>
                <a:schemeClr val="accent1"/>
              </a:buClr>
              <a:buFontTx/>
              <a:buChar char="–"/>
              <a:defRPr sz="1400"/>
            </a:lvl4pPr>
            <a:lvl5pPr marL="1714500" indent="-171450">
              <a:spcAft>
                <a:spcPts val="400"/>
              </a:spcAft>
              <a:buClr>
                <a:schemeClr val="accent1"/>
              </a:buClr>
              <a:buFontTx/>
              <a:buChar char="–"/>
              <a:defRPr sz="1400"/>
            </a:lvl5pPr>
            <a:lvl6pPr marL="2171700" indent="-171450">
              <a:spcAft>
                <a:spcPts val="400"/>
              </a:spcAft>
              <a:buClr>
                <a:schemeClr val="accent1"/>
              </a:buClr>
              <a:buFontTx/>
              <a:buChar char="–"/>
              <a:defRPr sz="1400"/>
            </a:lvl6pPr>
            <a:lvl7pPr marL="2628900" indent="-171450">
              <a:spcAft>
                <a:spcPts val="400"/>
              </a:spcAft>
              <a:buClr>
                <a:schemeClr val="accent1"/>
              </a:buClr>
              <a:buFontTx/>
              <a:buChar char="–"/>
              <a:defRPr sz="1400" baseline="0"/>
            </a:lvl7pPr>
            <a:lvl8pPr marL="3028950" indent="-171450">
              <a:spcAft>
                <a:spcPts val="400"/>
              </a:spcAft>
              <a:buClr>
                <a:schemeClr val="accent1"/>
              </a:buClr>
              <a:buFontTx/>
              <a:buChar char="–"/>
              <a:defRPr sz="1400" baseline="0"/>
            </a:lvl8pPr>
            <a:lvl9pPr marL="3486150" indent="-171450">
              <a:spcAft>
                <a:spcPts val="400"/>
              </a:spcAft>
              <a:buClr>
                <a:schemeClr val="accent1"/>
              </a:buClr>
              <a:buFontTx/>
              <a:buChar char="–"/>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868375573"/>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98764" y="294810"/>
            <a:ext cx="10090920" cy="338554"/>
          </a:xfrm>
        </p:spPr>
        <p:txBody>
          <a:bodyPr/>
          <a:lstStyle/>
          <a:p>
            <a:r>
              <a:rPr lang="ru-RU" smtClean="0"/>
              <a:t>Образец заголовка</a:t>
            </a:r>
            <a:endParaRPr lang="en-GB" dirty="0"/>
          </a:p>
        </p:txBody>
      </p:sp>
      <p:sp>
        <p:nvSpPr>
          <p:cNvPr id="16" name="Content Placeholder 15"/>
          <p:cNvSpPr>
            <a:spLocks noGrp="1"/>
          </p:cNvSpPr>
          <p:nvPr>
            <p:ph sz="quarter" idx="12"/>
          </p:nvPr>
        </p:nvSpPr>
        <p:spPr>
          <a:xfrm>
            <a:off x="500097" y="1177489"/>
            <a:ext cx="11217769" cy="4658549"/>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type="body" sz="quarter" idx="14"/>
          </p:nvPr>
        </p:nvSpPr>
        <p:spPr>
          <a:xfrm>
            <a:off x="498795" y="692554"/>
            <a:ext cx="10118404" cy="234950"/>
          </a:xfrm>
        </p:spPr>
        <p:txBody>
          <a:bodyPr/>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lvl="0"/>
            <a:r>
              <a:rPr lang="ru-RU" smtClean="0"/>
              <a:t>Образец текста</a:t>
            </a:r>
          </a:p>
        </p:txBody>
      </p:sp>
      <p:sp>
        <p:nvSpPr>
          <p:cNvPr id="6" name="Text Placeholder 5"/>
          <p:cNvSpPr>
            <a:spLocks noGrp="1"/>
          </p:cNvSpPr>
          <p:nvPr>
            <p:ph type="body" sz="quarter" idx="18"/>
          </p:nvPr>
        </p:nvSpPr>
        <p:spPr>
          <a:xfrm>
            <a:off x="499872" y="5965754"/>
            <a:ext cx="11261093" cy="215444"/>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ru-RU" smtClean="0"/>
              <a:t>Образец текста</a:t>
            </a:r>
          </a:p>
        </p:txBody>
      </p:sp>
      <p:sp>
        <p:nvSpPr>
          <p:cNvPr id="7" name="Date Placeholder 3"/>
          <p:cNvSpPr>
            <a:spLocks noGrp="1"/>
          </p:cNvSpPr>
          <p:nvPr>
            <p:ph type="dt" sz="half" idx="19"/>
          </p:nvPr>
        </p:nvSpPr>
        <p:spPr/>
        <p:txBody>
          <a:bodyPr/>
          <a:lstStyle>
            <a:lvl1pPr algn="ctr">
              <a:defRPr/>
            </a:lvl1pPr>
          </a:lstStyle>
          <a:p>
            <a:pPr>
              <a:defRPr/>
            </a:pPr>
            <a:r>
              <a:rPr lang="en-US"/>
              <a:t>Insert your date / confidentiality text here</a:t>
            </a:r>
            <a:endParaRPr lang="en-GB"/>
          </a:p>
        </p:txBody>
      </p:sp>
      <p:sp>
        <p:nvSpPr>
          <p:cNvPr id="9" name="Footer Placeholder 6"/>
          <p:cNvSpPr>
            <a:spLocks noGrp="1"/>
          </p:cNvSpPr>
          <p:nvPr>
            <p:ph type="ftr" sz="quarter" idx="20"/>
          </p:nvPr>
        </p:nvSpPr>
        <p:spPr/>
        <p:txBody>
          <a:bodyPr/>
          <a:lstStyle>
            <a:lvl1pPr>
              <a:defRPr/>
            </a:lvl1pPr>
          </a:lstStyle>
          <a:p>
            <a:pPr>
              <a:defRPr/>
            </a:pPr>
            <a:r>
              <a:rPr lang="en-GB"/>
              <a:t>4x3 presentation kit</a:t>
            </a:r>
          </a:p>
        </p:txBody>
      </p:sp>
      <p:sp>
        <p:nvSpPr>
          <p:cNvPr id="10" name="Slide Number Placeholder 9"/>
          <p:cNvSpPr>
            <a:spLocks noGrp="1"/>
          </p:cNvSpPr>
          <p:nvPr>
            <p:ph type="sldNum" sz="quarter" idx="21"/>
          </p:nvPr>
        </p:nvSpPr>
        <p:spPr/>
        <p:txBody>
          <a:bodyPr/>
          <a:lstStyle>
            <a:lvl1pPr>
              <a:defRPr/>
            </a:lvl1pPr>
          </a:lstStyle>
          <a:p>
            <a:pPr>
              <a:defRPr/>
            </a:pPr>
            <a:fld id="{DCE4B4CB-8C34-4348-B3D8-9057869990CB}" type="slidenum">
              <a:rPr lang="en-GB"/>
              <a:pPr>
                <a:defRPr/>
              </a:pPr>
              <a:t>‹#›</a:t>
            </a:fld>
            <a:endParaRPr lang="en-GB" dirty="0"/>
          </a:p>
        </p:txBody>
      </p:sp>
    </p:spTree>
    <p:extLst>
      <p:ext uri="{BB962C8B-B14F-4D97-AF65-F5344CB8AC3E}">
        <p14:creationId xmlns:p14="http://schemas.microsoft.com/office/powerpoint/2010/main" val="3319443148"/>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6" name="TextBox 5"/>
          <p:cNvSpPr txBox="1">
            <a:spLocks noChangeArrowheads="1"/>
          </p:cNvSpPr>
          <p:nvPr userDrawn="1"/>
        </p:nvSpPr>
        <p:spPr bwMode="auto">
          <a:xfrm>
            <a:off x="537634" y="5899150"/>
            <a:ext cx="5135033"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GB" sz="800" smtClean="0">
              <a:solidFill>
                <a:srgbClr val="000000"/>
              </a:solidFill>
            </a:endParaRPr>
          </a:p>
        </p:txBody>
      </p:sp>
      <p:sp>
        <p:nvSpPr>
          <p:cNvPr id="2" name="Title 1"/>
          <p:cNvSpPr>
            <a:spLocks noGrp="1"/>
          </p:cNvSpPr>
          <p:nvPr>
            <p:ph type="title"/>
          </p:nvPr>
        </p:nvSpPr>
        <p:spPr/>
        <p:txBody>
          <a:bodyPr/>
          <a:lstStyle/>
          <a:p>
            <a:r>
              <a:rPr lang="en-US"/>
              <a:t>Click to edit Master title style</a:t>
            </a:r>
            <a:endParaRPr lang="en-GB" dirty="0"/>
          </a:p>
        </p:txBody>
      </p:sp>
      <p:sp>
        <p:nvSpPr>
          <p:cNvPr id="5" name="Text Placeholder 4"/>
          <p:cNvSpPr>
            <a:spLocks noGrp="1"/>
          </p:cNvSpPr>
          <p:nvPr>
            <p:ph type="body" sz="quarter" idx="14"/>
          </p:nvPr>
        </p:nvSpPr>
        <p:spPr>
          <a:xfrm>
            <a:off x="527053" y="1414466"/>
            <a:ext cx="11137900" cy="4897437"/>
          </a:xfrm>
        </p:spPr>
        <p:txBody>
          <a:bodyPr/>
          <a:lstStyle>
            <a:lvl1pPr>
              <a:spcBef>
                <a:spcPts val="2400"/>
              </a:spcBef>
              <a:defRPr sz="24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8"/>
          <p:cNvSpPr>
            <a:spLocks noGrp="1"/>
          </p:cNvSpPr>
          <p:nvPr>
            <p:ph type="body" sz="quarter" idx="15"/>
          </p:nvPr>
        </p:nvSpPr>
        <p:spPr>
          <a:xfrm>
            <a:off x="523739" y="5899150"/>
            <a:ext cx="4185148" cy="488950"/>
          </a:xfrm>
        </p:spPr>
        <p:txBody>
          <a:bodyPr/>
          <a:lstStyle>
            <a:lvl1pPr marL="0" indent="0">
              <a:buFontTx/>
              <a:buNone/>
              <a:defRPr sz="800"/>
            </a:lvl1pPr>
            <a:lvl2pPr marL="358775" indent="0">
              <a:buFontTx/>
              <a:buNone/>
              <a:defRPr sz="800"/>
            </a:lvl2pPr>
          </a:lstStyle>
          <a:p>
            <a:pPr lvl="0"/>
            <a:r>
              <a:rPr lang="en-US" dirty="0"/>
              <a:t>Click to edit Master text styles</a:t>
            </a:r>
          </a:p>
        </p:txBody>
      </p:sp>
      <p:sp>
        <p:nvSpPr>
          <p:cNvPr id="7" name="Slide Number Placeholder 5"/>
          <p:cNvSpPr>
            <a:spLocks noGrp="1"/>
          </p:cNvSpPr>
          <p:nvPr>
            <p:ph type="sldNum" sz="quarter" idx="16"/>
          </p:nvPr>
        </p:nvSpPr>
        <p:spPr>
          <a:xfrm>
            <a:off x="11569701" y="6477001"/>
            <a:ext cx="385233" cy="365125"/>
          </a:xfrm>
        </p:spPr>
        <p:txBody>
          <a:bodyPr/>
          <a:lstStyle>
            <a:lvl1pPr>
              <a:defRPr/>
            </a:lvl1pPr>
          </a:lstStyle>
          <a:p>
            <a:pPr>
              <a:defRPr/>
            </a:pPr>
            <a:fld id="{F66FF674-0522-4987-81D9-6D64CF0C4BC2}" type="slidenum">
              <a:rPr lang="en-GB"/>
              <a:pPr>
                <a:defRPr/>
              </a:pPr>
              <a:t>‹#›</a:t>
            </a:fld>
            <a:endParaRPr lang="en-GB" dirty="0"/>
          </a:p>
        </p:txBody>
      </p:sp>
      <p:sp>
        <p:nvSpPr>
          <p:cNvPr id="8" name="Date Placeholder 3"/>
          <p:cNvSpPr>
            <a:spLocks noGrp="1"/>
          </p:cNvSpPr>
          <p:nvPr>
            <p:ph type="dt" sz="half" idx="17"/>
          </p:nvPr>
        </p:nvSpPr>
        <p:spPr>
          <a:xfrm>
            <a:off x="2279651" y="6477001"/>
            <a:ext cx="1225549" cy="365125"/>
          </a:xfrm>
        </p:spPr>
        <p:txBody>
          <a:bodyPr lIns="0" tIns="0" rIns="0" bIns="0" rtlCol="0"/>
          <a:lstStyle>
            <a:lvl1pPr algn="l">
              <a:defRPr sz="800">
                <a:solidFill>
                  <a:srgbClr val="000000"/>
                </a:solidFill>
              </a:defRPr>
            </a:lvl1pPr>
          </a:lstStyle>
          <a:p>
            <a:pPr>
              <a:defRPr/>
            </a:pPr>
            <a:r>
              <a:rPr lang="en-GB"/>
              <a:t>January 2015</a:t>
            </a:r>
          </a:p>
        </p:txBody>
      </p:sp>
      <p:sp>
        <p:nvSpPr>
          <p:cNvPr id="10" name="Footer Placeholder 4"/>
          <p:cNvSpPr>
            <a:spLocks noGrp="1"/>
          </p:cNvSpPr>
          <p:nvPr>
            <p:ph type="ftr" sz="quarter" idx="18"/>
          </p:nvPr>
        </p:nvSpPr>
        <p:spPr>
          <a:xfrm>
            <a:off x="527051" y="6477001"/>
            <a:ext cx="1752600" cy="365125"/>
          </a:xfrm>
        </p:spPr>
        <p:txBody>
          <a:bodyPr lIns="0" tIns="0" rIns="0" bIns="0" rtlCol="0"/>
          <a:lstStyle>
            <a:lvl1pPr algn="l">
              <a:defRPr sz="800">
                <a:solidFill>
                  <a:srgbClr val="000000"/>
                </a:solidFill>
              </a:defRPr>
            </a:lvl1pPr>
          </a:lstStyle>
          <a:p>
            <a:pPr>
              <a:defRPr/>
            </a:pPr>
            <a:r>
              <a:rPr lang="en-GB"/>
              <a:t>Varicella vaccines position paper</a:t>
            </a:r>
          </a:p>
          <a:p>
            <a:pPr>
              <a:defRPr/>
            </a:pPr>
            <a:r>
              <a:rPr lang="en-GB"/>
              <a:t>Resource slide deck</a:t>
            </a:r>
          </a:p>
        </p:txBody>
      </p:sp>
    </p:spTree>
    <p:extLst>
      <p:ext uri="{BB962C8B-B14F-4D97-AF65-F5344CB8AC3E}">
        <p14:creationId xmlns:p14="http://schemas.microsoft.com/office/powerpoint/2010/main" val="57821564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2118" y="1589"/>
          <a:ext cx="4233" cy="1587"/>
        </p:xfrm>
        <a:graphic>
          <a:graphicData uri="http://schemas.openxmlformats.org/presentationml/2006/ole">
            <mc:AlternateContent xmlns:mc="http://schemas.openxmlformats.org/markup-compatibility/2006">
              <mc:Choice xmlns:v="urn:schemas-microsoft-com:vml" Requires="v">
                <p:oleObj spid="_x0000_s205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423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numéro de diapositive 4"/>
          <p:cNvSpPr>
            <a:spLocks noGrp="1"/>
          </p:cNvSpPr>
          <p:nvPr>
            <p:ph type="sldNum" sz="quarter" idx="10"/>
          </p:nvPr>
        </p:nvSpPr>
        <p:spPr>
          <a:xfrm>
            <a:off x="10782300" y="6477000"/>
            <a:ext cx="643467" cy="234950"/>
          </a:xfrm>
        </p:spPr>
        <p:txBody>
          <a:bodyPr/>
          <a:lstStyle>
            <a:lvl1pPr>
              <a:defRPr>
                <a:solidFill>
                  <a:srgbClr val="20252C"/>
                </a:solidFill>
              </a:defRPr>
            </a:lvl1pPr>
          </a:lstStyle>
          <a:p>
            <a:pPr>
              <a:defRPr/>
            </a:pPr>
            <a:r>
              <a:rPr lang="en-US"/>
              <a:t>|</a:t>
            </a:r>
            <a:r>
              <a:rPr lang="en-US" sz="900" baseline="16000"/>
              <a:t>        </a:t>
            </a:r>
            <a:fld id="{CDF70DEE-CD69-4D82-966E-620403A0C29F}" type="slidenum">
              <a:rPr lang="en-US"/>
              <a:pPr>
                <a:defRPr/>
              </a:pPr>
              <a:t>‹#›</a:t>
            </a:fld>
            <a:endParaRPr lang="en-US"/>
          </a:p>
        </p:txBody>
      </p:sp>
    </p:spTree>
    <p:extLst>
      <p:ext uri="{BB962C8B-B14F-4D97-AF65-F5344CB8AC3E}">
        <p14:creationId xmlns:p14="http://schemas.microsoft.com/office/powerpoint/2010/main" val="225944586"/>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A5EACFE6-7A82-41D2-96D7-63FA8BB06839}" type="slidenum">
              <a:rPr lang="en-US"/>
              <a:pPr>
                <a:defRPr/>
              </a:pPr>
              <a:t>‹#›</a:t>
            </a:fld>
            <a:endParaRPr lang="en-US"/>
          </a:p>
        </p:txBody>
      </p:sp>
    </p:spTree>
    <p:extLst>
      <p:ext uri="{BB962C8B-B14F-4D97-AF65-F5344CB8AC3E}">
        <p14:creationId xmlns:p14="http://schemas.microsoft.com/office/powerpoint/2010/main" val="28757168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F41998A6-42A3-4ABC-BEBA-82E85E7DECD2}" type="slidenum">
              <a:rPr lang="ru-RU"/>
              <a:pPr>
                <a:defRPr/>
              </a:pPr>
              <a:t>‹#›</a:t>
            </a:fld>
            <a:endParaRPr lang="ru-RU"/>
          </a:p>
        </p:txBody>
      </p:sp>
    </p:spTree>
    <p:extLst>
      <p:ext uri="{BB962C8B-B14F-4D97-AF65-F5344CB8AC3E}">
        <p14:creationId xmlns:p14="http://schemas.microsoft.com/office/powerpoint/2010/main" val="3381285074"/>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5BD305DE-E613-4F2F-AA0D-51069312A605}" type="slidenum">
              <a:rPr lang="en-US"/>
              <a:pPr>
                <a:defRPr/>
              </a:pPr>
              <a:t>‹#›</a:t>
            </a:fld>
            <a:endParaRPr lang="en-US"/>
          </a:p>
        </p:txBody>
      </p:sp>
    </p:spTree>
    <p:extLst>
      <p:ext uri="{BB962C8B-B14F-4D97-AF65-F5344CB8AC3E}">
        <p14:creationId xmlns:p14="http://schemas.microsoft.com/office/powerpoint/2010/main" val="3580006035"/>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AED42024-865B-43D6-B3EA-6109705976F7}" type="slidenum">
              <a:rPr lang="en-US"/>
              <a:pPr>
                <a:defRPr/>
              </a:pPr>
              <a:t>‹#›</a:t>
            </a:fld>
            <a:endParaRPr lang="en-US"/>
          </a:p>
        </p:txBody>
      </p:sp>
    </p:spTree>
    <p:extLst>
      <p:ext uri="{BB962C8B-B14F-4D97-AF65-F5344CB8AC3E}">
        <p14:creationId xmlns:p14="http://schemas.microsoft.com/office/powerpoint/2010/main" val="53384168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609600" y="1244600"/>
            <a:ext cx="11006667" cy="264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11"/>
          </p:nvPr>
        </p:nvSpPr>
        <p:spPr>
          <a:xfrm>
            <a:off x="626534" y="4000500"/>
            <a:ext cx="10989733" cy="2565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0572805"/>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1_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573956"/>
            <a:ext cx="10972800" cy="641350"/>
          </a:xfrm>
        </p:spPr>
        <p:txBody>
          <a:bodyPr/>
          <a:lstStyle/>
          <a:p>
            <a:r>
              <a:rPr lang="en-US" smtClean="0"/>
              <a:t>Click to edit Master title style</a:t>
            </a:r>
            <a:endParaRPr lang="en-US"/>
          </a:p>
        </p:txBody>
      </p:sp>
      <p:sp>
        <p:nvSpPr>
          <p:cNvPr id="4" name="Content Placeholder 3"/>
          <p:cNvSpPr>
            <a:spLocks noGrp="1"/>
          </p:cNvSpPr>
          <p:nvPr>
            <p:ph sz="half" idx="2"/>
          </p:nvPr>
        </p:nvSpPr>
        <p:spPr>
          <a:xfrm>
            <a:off x="609600" y="1438276"/>
            <a:ext cx="10972800" cy="21875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6"/>
          <p:cNvSpPr>
            <a:spLocks noGrp="1"/>
          </p:cNvSpPr>
          <p:nvPr>
            <p:ph sz="quarter" idx="10"/>
          </p:nvPr>
        </p:nvSpPr>
        <p:spPr>
          <a:xfrm>
            <a:off x="609600" y="3746500"/>
            <a:ext cx="11023600" cy="2209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2"/>
          <p:cNvSpPr>
            <a:spLocks noGrp="1"/>
          </p:cNvSpPr>
          <p:nvPr>
            <p:ph type="sldNum" sz="quarter" idx="11"/>
          </p:nvPr>
        </p:nvSpPr>
        <p:spPr/>
        <p:txBody>
          <a:bodyPr/>
          <a:lstStyle>
            <a:lvl1pPr>
              <a:defRPr>
                <a:solidFill>
                  <a:srgbClr val="000000">
                    <a:tint val="75000"/>
                  </a:srgbClr>
                </a:solidFill>
              </a:defRPr>
            </a:lvl1pPr>
          </a:lstStyle>
          <a:p>
            <a:pPr>
              <a:defRPr/>
            </a:pPr>
            <a:fld id="{39390E38-B0B3-49C5-83A8-71F197248EFE}" type="slidenum">
              <a:rPr lang="en-US"/>
              <a:pPr>
                <a:defRPr/>
              </a:pPr>
              <a:t>‹#›</a:t>
            </a:fld>
            <a:endParaRPr lang="en-US"/>
          </a:p>
        </p:txBody>
      </p:sp>
    </p:spTree>
    <p:extLst>
      <p:ext uri="{BB962C8B-B14F-4D97-AF65-F5344CB8AC3E}">
        <p14:creationId xmlns:p14="http://schemas.microsoft.com/office/powerpoint/2010/main" val="880772144"/>
      </p:ext>
    </p:extLst>
  </p:cSld>
  <p:clrMapOvr>
    <a:masterClrMapping/>
  </p:clrMapOvr>
  <p:transition>
    <p:fade thruBlk="1"/>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Sub-section page 2">
    <p:spTree>
      <p:nvGrpSpPr>
        <p:cNvPr id="1" name=""/>
        <p:cNvGrpSpPr/>
        <p:nvPr/>
      </p:nvGrpSpPr>
      <p:grpSpPr>
        <a:xfrm>
          <a:off x="0" y="0"/>
          <a:ext cx="0" cy="0"/>
          <a:chOff x="0" y="0"/>
          <a:chExt cx="0" cy="0"/>
        </a:xfrm>
      </p:grpSpPr>
      <p:sp>
        <p:nvSpPr>
          <p:cNvPr id="2" name="Espace réservé du numéro de diapositive 4"/>
          <p:cNvSpPr>
            <a:spLocks noGrp="1"/>
          </p:cNvSpPr>
          <p:nvPr>
            <p:ph type="sldNum" sz="quarter" idx="10"/>
          </p:nvPr>
        </p:nvSpPr>
        <p:spPr/>
        <p:txBody>
          <a:bodyPr/>
          <a:lstStyle>
            <a:lvl1pPr>
              <a:defRPr/>
            </a:lvl1pPr>
          </a:lstStyle>
          <a:p>
            <a:pPr>
              <a:defRPr/>
            </a:pPr>
            <a:fld id="{67B3FE49-CF78-44B1-ABE4-E058DE73F485}" type="slidenum">
              <a:rPr lang="en-US"/>
              <a:pPr>
                <a:defRPr/>
              </a:pPr>
              <a:t>‹#›</a:t>
            </a:fld>
            <a:endParaRPr lang="en-US"/>
          </a:p>
        </p:txBody>
      </p:sp>
    </p:spTree>
    <p:extLst>
      <p:ext uri="{BB962C8B-B14F-4D97-AF65-F5344CB8AC3E}">
        <p14:creationId xmlns:p14="http://schemas.microsoft.com/office/powerpoint/2010/main" val="1696244966"/>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DEC51958-A667-4F41-88BB-F94F15E85FB9}" type="slidenum">
              <a:rPr lang="en-US"/>
              <a:pPr>
                <a:defRPr/>
              </a:pPr>
              <a:t>‹#›</a:t>
            </a:fld>
            <a:endParaRPr lang="en-US"/>
          </a:p>
        </p:txBody>
      </p:sp>
    </p:spTree>
    <p:extLst>
      <p:ext uri="{BB962C8B-B14F-4D97-AF65-F5344CB8AC3E}">
        <p14:creationId xmlns:p14="http://schemas.microsoft.com/office/powerpoint/2010/main" val="1138224388"/>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3" name="2 Marcador de contenido"/>
          <p:cNvSpPr>
            <a:spLocks noGrp="1"/>
          </p:cNvSpPr>
          <p:nvPr>
            <p:ph idx="1"/>
          </p:nvPr>
        </p:nvSpPr>
        <p:spPr>
          <a:xfrm>
            <a:off x="836085" y="1390650"/>
            <a:ext cx="10483849" cy="4248150"/>
          </a:xfrm>
          <a:prstGeom prst="rect">
            <a:avLst/>
          </a:prstGeom>
        </p:spPr>
        <p:txBody>
          <a:bodyPr/>
          <a:lstStyle>
            <a:lvl1pPr marL="285750" indent="-285750">
              <a:buClr>
                <a:schemeClr val="accent6"/>
              </a:buClr>
              <a:buFont typeface="Arial" panose="020B0604020202020204" pitchFamily="34" charset="0"/>
              <a:buChar char="●"/>
              <a:defRPr>
                <a:solidFill>
                  <a:schemeClr val="accent2">
                    <a:lumMod val="65000"/>
                    <a:lumOff val="35000"/>
                  </a:schemeClr>
                </a:solidFill>
              </a:defRPr>
            </a:lvl1pPr>
            <a:lvl2pPr>
              <a:defRPr>
                <a:solidFill>
                  <a:schemeClr val="tx1"/>
                </a:solidFill>
              </a:defRPr>
            </a:lvl2pPr>
          </a:lstStyle>
          <a:p>
            <a:pPr lvl="0"/>
            <a:r>
              <a:rPr lang="en-US" smtClean="0"/>
              <a:t>Click to edit Master text styles</a:t>
            </a:r>
          </a:p>
          <a:p>
            <a:pPr lvl="1"/>
            <a:r>
              <a:rPr lang="en-US" smtClean="0"/>
              <a:t>Second level</a:t>
            </a:r>
          </a:p>
        </p:txBody>
      </p:sp>
      <p:sp>
        <p:nvSpPr>
          <p:cNvPr id="9" name="Title 1"/>
          <p:cNvSpPr>
            <a:spLocks noGrp="1"/>
          </p:cNvSpPr>
          <p:nvPr>
            <p:ph type="title"/>
          </p:nvPr>
        </p:nvSpPr>
        <p:spPr>
          <a:xfrm>
            <a:off x="836084" y="381000"/>
            <a:ext cx="8235949" cy="592138"/>
          </a:xfrm>
          <a:prstGeom prst="rect">
            <a:avLst/>
          </a:prstGeom>
        </p:spPr>
        <p:txBody>
          <a:bodyPr/>
          <a:lstStyle/>
          <a:p>
            <a:r>
              <a:rPr lang="ru-RU" smtClean="0"/>
              <a:t>Образец заголовка</a:t>
            </a:r>
            <a:endParaRPr lang="en-US" dirty="0"/>
          </a:p>
        </p:txBody>
      </p:sp>
      <p:sp>
        <p:nvSpPr>
          <p:cNvPr id="4" name="Slide Number Placeholder 3"/>
          <p:cNvSpPr>
            <a:spLocks noGrp="1"/>
          </p:cNvSpPr>
          <p:nvPr>
            <p:ph type="sldNum" sz="quarter" idx="10"/>
          </p:nvPr>
        </p:nvSpPr>
        <p:spPr>
          <a:xfrm>
            <a:off x="10782300" y="6477000"/>
            <a:ext cx="643467" cy="234950"/>
          </a:xfrm>
        </p:spPr>
        <p:txBody>
          <a:bodyPr/>
          <a:lstStyle>
            <a:lvl1pPr>
              <a:defRPr/>
            </a:lvl1pPr>
          </a:lstStyle>
          <a:p>
            <a:pPr>
              <a:defRPr/>
            </a:pPr>
            <a:fld id="{8BA5646D-8C7B-4140-8127-AC3B6D95B7D1}" type="slidenum">
              <a:rPr lang="en-US"/>
              <a:pPr>
                <a:defRPr/>
              </a:pPr>
              <a:t>‹#›</a:t>
            </a:fld>
            <a:endParaRPr lang="en-US"/>
          </a:p>
        </p:txBody>
      </p:sp>
    </p:spTree>
    <p:extLst>
      <p:ext uri="{BB962C8B-B14F-4D97-AF65-F5344CB8AC3E}">
        <p14:creationId xmlns:p14="http://schemas.microsoft.com/office/powerpoint/2010/main" val="19196382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1"/>
          <a:lstStyle>
            <a:lvl1pPr algn="ctr">
              <a:defRPr sz="3800">
                <a:solidFill>
                  <a:srgbClr val="262626"/>
                </a:solidFill>
              </a:defRPr>
            </a:lvl1pPr>
          </a:lstStyle>
          <a:p>
            <a:r>
              <a:rPr lang="ru-RU" smtClean="0"/>
              <a:t>Образец заголовка</a:t>
            </a:r>
            <a:endParaRPr lang="en-US" dirty="0"/>
          </a:p>
        </p:txBody>
      </p:sp>
      <p:sp>
        <p:nvSpPr>
          <p:cNvPr id="3" name="Subtitle 2"/>
          <p:cNvSpPr>
            <a:spLocks noGrp="1"/>
          </p:cNvSpPr>
          <p:nvPr>
            <p:ph type="subTitle" idx="1"/>
          </p:nvPr>
        </p:nvSpPr>
        <p:spPr>
          <a:xfrm>
            <a:off x="2695199" y="4352776"/>
            <a:ext cx="6801612" cy="1239895"/>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6"/>
          <p:cNvSpPr>
            <a:spLocks noGrp="1"/>
          </p:cNvSpPr>
          <p:nvPr>
            <p:ph type="dt" sz="half" idx="10"/>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FCA49C7C-8B9A-40A7-9EF6-66D2175C79FE}" type="datetimeFigureOut">
              <a:rPr lang="ru-RU"/>
              <a:pPr>
                <a:defRPr/>
              </a:pPr>
              <a:t>16.12.2021</a:t>
            </a:fld>
            <a:endParaRPr lang="ru-RU"/>
          </a:p>
        </p:txBody>
      </p:sp>
      <p:sp>
        <p:nvSpPr>
          <p:cNvPr id="5" name="Footer Placeholder 7"/>
          <p:cNvSpPr>
            <a:spLocks noGrp="1"/>
          </p:cNvSpPr>
          <p:nvPr>
            <p:ph type="ftr" sz="quarter" idx="11"/>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endParaRPr lang="ru-RU"/>
          </a:p>
        </p:txBody>
      </p:sp>
      <p:sp>
        <p:nvSpPr>
          <p:cNvPr id="6" name="Slide Number Placeholder 8"/>
          <p:cNvSpPr>
            <a:spLocks noGrp="1"/>
          </p:cNvSpPr>
          <p:nvPr>
            <p:ph type="sldNum" sz="quarter" idx="12"/>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CCD88F4C-0DEB-4C6D-98A2-7992C4E3BB96}" type="slidenum">
              <a:rPr lang="ru-RU"/>
              <a:pPr>
                <a:defRPr/>
              </a:pPr>
              <a:t>‹#›</a:t>
            </a:fld>
            <a:endParaRPr lang="ru-RU"/>
          </a:p>
        </p:txBody>
      </p:sp>
    </p:spTree>
    <p:extLst>
      <p:ext uri="{BB962C8B-B14F-4D97-AF65-F5344CB8AC3E}">
        <p14:creationId xmlns:p14="http://schemas.microsoft.com/office/powerpoint/2010/main" val="1364571690"/>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6"/>
          <p:cNvSpPr>
            <a:spLocks noGrp="1"/>
          </p:cNvSpPr>
          <p:nvPr>
            <p:ph type="dt" sz="half" idx="10"/>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F8FF8A70-6EE6-4458-874C-364F354E5C7C}" type="datetimeFigureOut">
              <a:rPr lang="ru-RU"/>
              <a:pPr>
                <a:defRPr/>
              </a:pPr>
              <a:t>16.12.2021</a:t>
            </a:fld>
            <a:endParaRPr lang="ru-RU"/>
          </a:p>
        </p:txBody>
      </p:sp>
      <p:sp>
        <p:nvSpPr>
          <p:cNvPr id="5" name="Footer Placeholder 7"/>
          <p:cNvSpPr>
            <a:spLocks noGrp="1"/>
          </p:cNvSpPr>
          <p:nvPr>
            <p:ph type="ftr" sz="quarter" idx="11"/>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endParaRPr lang="ru-RU"/>
          </a:p>
        </p:txBody>
      </p:sp>
      <p:sp>
        <p:nvSpPr>
          <p:cNvPr id="6" name="Slide Number Placeholder 8"/>
          <p:cNvSpPr>
            <a:spLocks noGrp="1"/>
          </p:cNvSpPr>
          <p:nvPr>
            <p:ph type="sldNum" sz="quarter" idx="12"/>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C28219D1-C925-4345-BC4A-DE38415A32C6}" type="slidenum">
              <a:rPr lang="ru-RU"/>
              <a:pPr>
                <a:defRPr/>
              </a:pPr>
              <a:t>‹#›</a:t>
            </a:fld>
            <a:endParaRPr lang="ru-RU"/>
          </a:p>
        </p:txBody>
      </p:sp>
    </p:spTree>
    <p:extLst>
      <p:ext uri="{BB962C8B-B14F-4D97-AF65-F5344CB8AC3E}">
        <p14:creationId xmlns:p14="http://schemas.microsoft.com/office/powerpoint/2010/main" val="2476870188"/>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600200" y="2386744"/>
            <a:ext cx="8991600" cy="1645920"/>
          </a:xfrm>
          <a:solidFill>
            <a:srgbClr val="FFFFFF"/>
          </a:solidFill>
          <a:ln w="38100">
            <a:solidFill>
              <a:srgbClr val="404040"/>
            </a:solidFill>
          </a:ln>
        </p:spPr>
        <p:txBody>
          <a:bodyPr lIns="274320" rIns="274320" anchorCtr="1"/>
          <a:lstStyle>
            <a:lvl1pPr>
              <a:defRPr sz="3800">
                <a:solidFill>
                  <a:srgbClr val="262626"/>
                </a:solidFill>
              </a:defRPr>
            </a:lvl1pPr>
          </a:lstStyle>
          <a:p>
            <a:r>
              <a:rPr lang="ru-RU" smtClean="0"/>
              <a:t>Образец заголовка</a:t>
            </a:r>
            <a:endParaRPr lang="en-US" dirty="0"/>
          </a:p>
        </p:txBody>
      </p:sp>
      <p:sp>
        <p:nvSpPr>
          <p:cNvPr id="3" name="Text Placeholder 2"/>
          <p:cNvSpPr>
            <a:spLocks noGrp="1"/>
          </p:cNvSpPr>
          <p:nvPr>
            <p:ph type="body" idx="1"/>
          </p:nvPr>
        </p:nvSpPr>
        <p:spPr>
          <a:xfrm>
            <a:off x="2695199" y="4352696"/>
            <a:ext cx="6801612" cy="1265083"/>
          </a:xfrm>
        </p:spPr>
        <p:txBody>
          <a:bodyPr anchorCtr="1">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Date Placeholder 6"/>
          <p:cNvSpPr>
            <a:spLocks noGrp="1"/>
          </p:cNvSpPr>
          <p:nvPr>
            <p:ph type="dt" sz="half" idx="10"/>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D6DF2D95-AEC2-4E40-ADE0-CDE23F3FF427}" type="datetimeFigureOut">
              <a:rPr lang="ru-RU"/>
              <a:pPr>
                <a:defRPr/>
              </a:pPr>
              <a:t>16.12.2021</a:t>
            </a:fld>
            <a:endParaRPr lang="ru-RU"/>
          </a:p>
        </p:txBody>
      </p:sp>
      <p:sp>
        <p:nvSpPr>
          <p:cNvPr id="5" name="Footer Placeholder 7"/>
          <p:cNvSpPr>
            <a:spLocks noGrp="1"/>
          </p:cNvSpPr>
          <p:nvPr>
            <p:ph type="ftr" sz="quarter" idx="11"/>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endParaRPr lang="ru-RU"/>
          </a:p>
        </p:txBody>
      </p:sp>
      <p:sp>
        <p:nvSpPr>
          <p:cNvPr id="6" name="Slide Number Placeholder 8"/>
          <p:cNvSpPr>
            <a:spLocks noGrp="1"/>
          </p:cNvSpPr>
          <p:nvPr>
            <p:ph type="sldNum" sz="quarter" idx="12"/>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3BBDC5A7-0E22-4C80-8B2B-1F913BFE5B39}" type="slidenum">
              <a:rPr lang="ru-RU"/>
              <a:pPr>
                <a:defRPr/>
              </a:pPr>
              <a:t>‹#›</a:t>
            </a:fld>
            <a:endParaRPr lang="ru-RU"/>
          </a:p>
        </p:txBody>
      </p:sp>
    </p:spTree>
    <p:extLst>
      <p:ext uri="{BB962C8B-B14F-4D97-AF65-F5344CB8AC3E}">
        <p14:creationId xmlns:p14="http://schemas.microsoft.com/office/powerpoint/2010/main" val="38425715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BB300E55-6AB7-44D3-8374-7A851E142CAB}" type="slidenum">
              <a:rPr lang="ru-RU"/>
              <a:pPr>
                <a:defRPr/>
              </a:pPr>
              <a:t>‹#›</a:t>
            </a:fld>
            <a:endParaRPr lang="ru-RU"/>
          </a:p>
        </p:txBody>
      </p:sp>
    </p:spTree>
    <p:extLst>
      <p:ext uri="{BB962C8B-B14F-4D97-AF65-F5344CB8AC3E}">
        <p14:creationId xmlns:p14="http://schemas.microsoft.com/office/powerpoint/2010/main" val="3479110975"/>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sz="half" idx="1"/>
          </p:nvPr>
        </p:nvSpPr>
        <p:spPr>
          <a:xfrm>
            <a:off x="1581912" y="2638048"/>
            <a:ext cx="4271771" cy="310198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6338473" y="2638048"/>
            <a:ext cx="4270247" cy="310198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7"/>
          <p:cNvSpPr>
            <a:spLocks noGrp="1"/>
          </p:cNvSpPr>
          <p:nvPr>
            <p:ph type="dt" sz="half" idx="10"/>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3BF089EE-5FEC-4633-BAE2-B1369D70E90D}" type="datetimeFigureOut">
              <a:rPr lang="ru-RU"/>
              <a:pPr>
                <a:defRPr/>
              </a:pPr>
              <a:t>16.12.2021</a:t>
            </a:fld>
            <a:endParaRPr lang="ru-RU"/>
          </a:p>
        </p:txBody>
      </p:sp>
      <p:sp>
        <p:nvSpPr>
          <p:cNvPr id="6" name="Footer Placeholder 8"/>
          <p:cNvSpPr>
            <a:spLocks noGrp="1"/>
          </p:cNvSpPr>
          <p:nvPr>
            <p:ph type="ftr" sz="quarter" idx="11"/>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endParaRPr lang="ru-RU"/>
          </a:p>
        </p:txBody>
      </p:sp>
      <p:sp>
        <p:nvSpPr>
          <p:cNvPr id="7" name="Slide Number Placeholder 9"/>
          <p:cNvSpPr>
            <a:spLocks noGrp="1"/>
          </p:cNvSpPr>
          <p:nvPr>
            <p:ph type="sldNum" sz="quarter" idx="12"/>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14083E9C-F75F-4218-8204-436C482B8AAF}" type="slidenum">
              <a:rPr lang="ru-RU"/>
              <a:pPr>
                <a:defRPr/>
              </a:pPr>
              <a:t>‹#›</a:t>
            </a:fld>
            <a:endParaRPr lang="ru-RU"/>
          </a:p>
        </p:txBody>
      </p:sp>
    </p:spTree>
    <p:extLst>
      <p:ext uri="{BB962C8B-B14F-4D97-AF65-F5344CB8AC3E}">
        <p14:creationId xmlns:p14="http://schemas.microsoft.com/office/powerpoint/2010/main" val="1080582712"/>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3436" y="2313666"/>
            <a:ext cx="4270248" cy="704087"/>
          </a:xfrm>
        </p:spPr>
        <p:txBody>
          <a:bodyPr anchor="b" anchorCtr="1">
            <a:normAutofit/>
          </a:bodyPr>
          <a:lstStyle>
            <a:lvl1pPr marL="0" indent="0" algn="ctr">
              <a:buNone/>
              <a:defRPr sz="1900" b="0" cap="all" spc="100" baseline="0">
                <a:solidFill>
                  <a:schemeClr val="accent2"/>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583436" y="3143251"/>
            <a:ext cx="4270248" cy="2596776"/>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6" name="Content Placeholder 5"/>
          <p:cNvSpPr>
            <a:spLocks noGrp="1"/>
          </p:cNvSpPr>
          <p:nvPr>
            <p:ph sz="quarter" idx="4"/>
          </p:nvPr>
        </p:nvSpPr>
        <p:spPr>
          <a:xfrm>
            <a:off x="6338319" y="3143251"/>
            <a:ext cx="4253484" cy="2596776"/>
          </a:xfrm>
        </p:spPr>
        <p:txBody>
          <a:bodyPr/>
          <a:lstStyle>
            <a:lvl5pP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11" name="Text Placeholder 4"/>
          <p:cNvSpPr>
            <a:spLocks noGrp="1"/>
          </p:cNvSpPr>
          <p:nvPr>
            <p:ph type="body" sz="quarter" idx="13"/>
          </p:nvPr>
        </p:nvSpPr>
        <p:spPr>
          <a:xfrm>
            <a:off x="6338316" y="2313666"/>
            <a:ext cx="4270248" cy="704087"/>
          </a:xfrm>
        </p:spPr>
        <p:txBody>
          <a:bodyPr anchor="b" anchorCtr="1">
            <a:normAutofit/>
          </a:bodyPr>
          <a:lstStyle>
            <a:lvl1pPr marL="0" indent="0" algn="ctr">
              <a:buNone/>
              <a:defRPr sz="1900" b="0" cap="all" spc="100" baseline="0">
                <a:solidFill>
                  <a:schemeClr val="accent2"/>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10" name="Title 9"/>
          <p:cNvSpPr>
            <a:spLocks noGrp="1"/>
          </p:cNvSpPr>
          <p:nvPr>
            <p:ph type="title"/>
          </p:nvPr>
        </p:nvSpPr>
        <p:spPr/>
        <p:txBody>
          <a:bodyPr/>
          <a:lstStyle/>
          <a:p>
            <a:r>
              <a:rPr lang="ru-RU" smtClean="0"/>
              <a:t>Образец заголовка</a:t>
            </a:r>
            <a:endParaRPr lang="en-US" dirty="0"/>
          </a:p>
        </p:txBody>
      </p:sp>
      <p:sp>
        <p:nvSpPr>
          <p:cNvPr id="7" name="Date Placeholder 6"/>
          <p:cNvSpPr>
            <a:spLocks noGrp="1"/>
          </p:cNvSpPr>
          <p:nvPr>
            <p:ph type="dt" sz="half" idx="14"/>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B2857F18-613C-4DFF-B6C3-E96DA59D77EC}" type="datetimeFigureOut">
              <a:rPr lang="ru-RU"/>
              <a:pPr>
                <a:defRPr/>
              </a:pPr>
              <a:t>16.12.2021</a:t>
            </a:fld>
            <a:endParaRPr lang="ru-RU"/>
          </a:p>
        </p:txBody>
      </p:sp>
      <p:sp>
        <p:nvSpPr>
          <p:cNvPr id="8" name="Footer Placeholder 7"/>
          <p:cNvSpPr>
            <a:spLocks noGrp="1"/>
          </p:cNvSpPr>
          <p:nvPr>
            <p:ph type="ftr" sz="quarter" idx="15"/>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endParaRPr lang="ru-RU"/>
          </a:p>
        </p:txBody>
      </p:sp>
      <p:sp>
        <p:nvSpPr>
          <p:cNvPr id="9" name="Slide Number Placeholder 8"/>
          <p:cNvSpPr>
            <a:spLocks noGrp="1"/>
          </p:cNvSpPr>
          <p:nvPr>
            <p:ph type="sldNum" sz="quarter" idx="16"/>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A6CADB29-257A-4866-AA9B-38D1076A9927}" type="slidenum">
              <a:rPr lang="ru-RU"/>
              <a:pPr>
                <a:defRPr/>
              </a:pPr>
              <a:t>‹#›</a:t>
            </a:fld>
            <a:endParaRPr lang="ru-RU"/>
          </a:p>
        </p:txBody>
      </p:sp>
    </p:spTree>
    <p:extLst>
      <p:ext uri="{BB962C8B-B14F-4D97-AF65-F5344CB8AC3E}">
        <p14:creationId xmlns:p14="http://schemas.microsoft.com/office/powerpoint/2010/main" val="1177120611"/>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AC8F86AB-3584-4FF4-B837-FBFD67B3E1C1}" type="datetimeFigureOut">
              <a:rPr lang="ru-RU"/>
              <a:pPr>
                <a:defRPr/>
              </a:pPr>
              <a:t>16.12.2021</a:t>
            </a:fld>
            <a:endParaRPr lang="ru-RU"/>
          </a:p>
        </p:txBody>
      </p:sp>
      <p:sp>
        <p:nvSpPr>
          <p:cNvPr id="4" name="Footer Placeholder 3"/>
          <p:cNvSpPr>
            <a:spLocks noGrp="1"/>
          </p:cNvSpPr>
          <p:nvPr>
            <p:ph type="ftr" sz="quarter" idx="11"/>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endParaRPr lang="ru-RU"/>
          </a:p>
        </p:txBody>
      </p:sp>
      <p:sp>
        <p:nvSpPr>
          <p:cNvPr id="5" name="Slide Number Placeholder 4"/>
          <p:cNvSpPr>
            <a:spLocks noGrp="1"/>
          </p:cNvSpPr>
          <p:nvPr>
            <p:ph type="sldNum" sz="quarter" idx="12"/>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A223CC22-4342-4E0F-BFAB-284E1FFD87FD}" type="slidenum">
              <a:rPr lang="ru-RU"/>
              <a:pPr>
                <a:defRPr/>
              </a:pPr>
              <a:t>‹#›</a:t>
            </a:fld>
            <a:endParaRPr lang="ru-RU"/>
          </a:p>
        </p:txBody>
      </p:sp>
    </p:spTree>
    <p:extLst>
      <p:ext uri="{BB962C8B-B14F-4D97-AF65-F5344CB8AC3E}">
        <p14:creationId xmlns:p14="http://schemas.microsoft.com/office/powerpoint/2010/main" val="2471790355"/>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C9290C4E-B839-4996-819E-6447AF3F86C5}" type="datetimeFigureOut">
              <a:rPr lang="ru-RU"/>
              <a:pPr>
                <a:defRPr/>
              </a:pPr>
              <a:t>16.12.2021</a:t>
            </a:fld>
            <a:endParaRPr lang="ru-RU"/>
          </a:p>
        </p:txBody>
      </p:sp>
      <p:sp>
        <p:nvSpPr>
          <p:cNvPr id="3" name="Footer Placeholder 2"/>
          <p:cNvSpPr>
            <a:spLocks noGrp="1"/>
          </p:cNvSpPr>
          <p:nvPr>
            <p:ph type="ftr" sz="quarter" idx="11"/>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endParaRPr lang="ru-RU"/>
          </a:p>
        </p:txBody>
      </p:sp>
      <p:sp>
        <p:nvSpPr>
          <p:cNvPr id="4" name="Slide Number Placeholder 3"/>
          <p:cNvSpPr>
            <a:spLocks noGrp="1"/>
          </p:cNvSpPr>
          <p:nvPr>
            <p:ph type="sldNum" sz="quarter" idx="12"/>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1525438A-E76C-4A3C-B107-A80BCE7229E9}" type="slidenum">
              <a:rPr lang="ru-RU"/>
              <a:pPr>
                <a:defRPr/>
              </a:pPr>
              <a:t>‹#›</a:t>
            </a:fld>
            <a:endParaRPr lang="ru-RU"/>
          </a:p>
        </p:txBody>
      </p:sp>
    </p:spTree>
    <p:extLst>
      <p:ext uri="{BB962C8B-B14F-4D97-AF65-F5344CB8AC3E}">
        <p14:creationId xmlns:p14="http://schemas.microsoft.com/office/powerpoint/2010/main" val="338412695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5" name="Rectangle 25"/>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4672" y="2244061"/>
            <a:ext cx="4486656" cy="1141497"/>
          </a:xfrm>
          <a:solidFill>
            <a:srgbClr val="FFFFFF"/>
          </a:solidFill>
          <a:ln>
            <a:solidFill>
              <a:srgbClr val="404040"/>
            </a:solidFill>
          </a:ln>
        </p:spPr>
        <p:txBody>
          <a:bodyPr anchorCtr="1"/>
          <a:lstStyle>
            <a:lvl1pPr>
              <a:defRPr sz="2200">
                <a:solidFill>
                  <a:srgbClr val="262626"/>
                </a:solidFill>
              </a:defRPr>
            </a:lvl1pPr>
          </a:lstStyle>
          <a:p>
            <a:r>
              <a:rPr lang="ru-RU" smtClean="0"/>
              <a:t>Образец заголовка</a:t>
            </a:r>
            <a:endParaRPr lang="en-US" dirty="0"/>
          </a:p>
        </p:txBody>
      </p:sp>
      <p:sp>
        <p:nvSpPr>
          <p:cNvPr id="3" name="Content Placeholder 2"/>
          <p:cNvSpPr>
            <a:spLocks noGrp="1"/>
          </p:cNvSpPr>
          <p:nvPr>
            <p:ph idx="1"/>
          </p:nvPr>
        </p:nvSpPr>
        <p:spPr>
          <a:xfrm>
            <a:off x="6736080" y="804672"/>
            <a:ext cx="4815840" cy="5248656"/>
          </a:xfrm>
        </p:spPr>
        <p:txBody>
          <a:bodyPr>
            <a:normAutofit/>
          </a:bodyPr>
          <a:lstStyle>
            <a:lvl1pPr>
              <a:defRPr sz="19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115568" y="3549919"/>
            <a:ext cx="3794760" cy="2194036"/>
          </a:xfrm>
        </p:spPr>
        <p:txBody>
          <a:bodyPr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6" name="Date Placeholder 8"/>
          <p:cNvSpPr>
            <a:spLocks noGrp="1"/>
          </p:cNvSpPr>
          <p:nvPr>
            <p:ph type="dt" sz="half" idx="10"/>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C426AC38-B668-4D07-BFC0-68CBC2F3CE87}" type="datetimeFigureOut">
              <a:rPr lang="ru-RU"/>
              <a:pPr>
                <a:defRPr/>
              </a:pPr>
              <a:t>16.12.2021</a:t>
            </a:fld>
            <a:endParaRPr lang="ru-RU"/>
          </a:p>
        </p:txBody>
      </p:sp>
      <p:sp>
        <p:nvSpPr>
          <p:cNvPr id="7" name="Footer Placeholder 9"/>
          <p:cNvSpPr>
            <a:spLocks noGrp="1"/>
          </p:cNvSpPr>
          <p:nvPr>
            <p:ph type="ftr" sz="quarter" idx="11"/>
          </p:nvPr>
        </p:nvSpPr>
        <p:spPr>
          <a:xfrm>
            <a:off x="804333" y="6235701"/>
            <a:ext cx="5124451" cy="320675"/>
          </a:xfrm>
        </p:spPr>
        <p:txBody>
          <a:bodyPr/>
          <a:lstStyle>
            <a:lvl1pPr defTabSz="914400" fontAlgn="base">
              <a:spcBef>
                <a:spcPct val="0"/>
              </a:spcBef>
              <a:spcAft>
                <a:spcPct val="0"/>
              </a:spcAft>
              <a:defRPr>
                <a:solidFill>
                  <a:srgbClr val="FFFFFF">
                    <a:alpha val="70000"/>
                  </a:srgbClr>
                </a:solidFill>
                <a:latin typeface="Arial" pitchFamily="34" charset="0"/>
                <a:cs typeface="Arial" pitchFamily="34" charset="0"/>
              </a:defRPr>
            </a:lvl1pPr>
          </a:lstStyle>
          <a:p>
            <a:pPr>
              <a:defRPr/>
            </a:pPr>
            <a:endParaRPr lang="ru-RU"/>
          </a:p>
        </p:txBody>
      </p:sp>
      <p:sp>
        <p:nvSpPr>
          <p:cNvPr id="8" name="Slide Number Placeholder 10"/>
          <p:cNvSpPr>
            <a:spLocks noGrp="1"/>
          </p:cNvSpPr>
          <p:nvPr>
            <p:ph type="sldNum" sz="quarter" idx="12"/>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0A781F93-EBBE-4862-A561-EF03BAF84AF1}" type="slidenum">
              <a:rPr lang="ru-RU"/>
              <a:pPr>
                <a:defRPr/>
              </a:pPr>
              <a:t>‹#›</a:t>
            </a:fld>
            <a:endParaRPr lang="ru-RU"/>
          </a:p>
        </p:txBody>
      </p:sp>
    </p:spTree>
    <p:extLst>
      <p:ext uri="{BB962C8B-B14F-4D97-AF65-F5344CB8AC3E}">
        <p14:creationId xmlns:p14="http://schemas.microsoft.com/office/powerpoint/2010/main" val="2593843664"/>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5" name="Rectangle 17"/>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8568" y="2243828"/>
            <a:ext cx="4494999" cy="1134640"/>
          </a:xfrm>
          <a:solidFill>
            <a:srgbClr val="FFFFFF"/>
          </a:solidFill>
          <a:ln>
            <a:solidFill>
              <a:srgbClr val="404040"/>
            </a:solidFill>
          </a:ln>
        </p:spPr>
        <p:txBody>
          <a:bodyPr anchorCtr="1">
            <a:noAutofit/>
          </a:bodyPr>
          <a:lstStyle>
            <a:lvl1pPr>
              <a:defRPr sz="2200">
                <a:solidFill>
                  <a:srgbClr val="262626"/>
                </a:solidFill>
              </a:defRPr>
            </a:lvl1pPr>
          </a:lstStyle>
          <a:p>
            <a:r>
              <a:rPr lang="ru-RU" smtClean="0"/>
              <a:t>Образец заголовка</a:t>
            </a:r>
            <a:endParaRPr lang="en-US" dirty="0"/>
          </a:p>
        </p:txBody>
      </p:sp>
      <p:sp>
        <p:nvSpPr>
          <p:cNvPr id="3" name="Picture Placeholder 2"/>
          <p:cNvSpPr>
            <a:spLocks noGrp="1" noChangeAspect="1"/>
          </p:cNvSpPr>
          <p:nvPr>
            <p:ph type="pic" idx="1"/>
          </p:nvPr>
        </p:nvSpPr>
        <p:spPr>
          <a:xfrm>
            <a:off x="6096157" y="0"/>
            <a:ext cx="6102097" cy="6858000"/>
          </a:xfrm>
          <a:solidFill>
            <a:schemeClr val="tx1">
              <a:lumMod val="85000"/>
            </a:schemeClr>
          </a:solidFill>
        </p:spPr>
        <p:txBody>
          <a:bodyPr rtlCol="0">
            <a:normAutofit/>
          </a:bodyPr>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smtClean="0"/>
              <a:t>Вставка рисунка</a:t>
            </a:r>
            <a:endParaRPr lang="en-US" noProof="0" dirty="0"/>
          </a:p>
        </p:txBody>
      </p:sp>
      <p:sp>
        <p:nvSpPr>
          <p:cNvPr id="4" name="Text Placeholder 3"/>
          <p:cNvSpPr>
            <a:spLocks noGrp="1"/>
          </p:cNvSpPr>
          <p:nvPr>
            <p:ph type="body" sz="half" idx="2"/>
          </p:nvPr>
        </p:nvSpPr>
        <p:spPr>
          <a:xfrm>
            <a:off x="1115568" y="3550146"/>
            <a:ext cx="3794760" cy="2194037"/>
          </a:xfrm>
        </p:spPr>
        <p:txBody>
          <a:bodyPr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6" name="Date Placeholder 7"/>
          <p:cNvSpPr>
            <a:spLocks noGrp="1"/>
          </p:cNvSpPr>
          <p:nvPr>
            <p:ph type="dt" sz="half" idx="10"/>
          </p:nvPr>
        </p:nvSpPr>
        <p:spPr/>
        <p:txBody>
          <a:bodyPr/>
          <a:lstStyle>
            <a:lvl1pPr defTabSz="914400" fontAlgn="base">
              <a:spcBef>
                <a:spcPct val="0"/>
              </a:spcBef>
              <a:spcAft>
                <a:spcPct val="0"/>
              </a:spcAft>
              <a:defRPr>
                <a:solidFill>
                  <a:srgbClr val="FFFFFF"/>
                </a:solidFill>
                <a:effectLst>
                  <a:outerShdw blurRad="50800" dist="38100" dir="2700000" algn="tl" rotWithShape="0">
                    <a:prstClr val="black">
                      <a:alpha val="43000"/>
                    </a:prstClr>
                  </a:outerShdw>
                </a:effectLst>
                <a:latin typeface="Arial" pitchFamily="34" charset="0"/>
                <a:cs typeface="Arial" pitchFamily="34" charset="0"/>
              </a:defRPr>
            </a:lvl1pPr>
          </a:lstStyle>
          <a:p>
            <a:pPr>
              <a:defRPr/>
            </a:pPr>
            <a:fld id="{24CDF240-604B-4F61-AF0C-D8021F34E450}" type="datetimeFigureOut">
              <a:rPr lang="ru-RU"/>
              <a:pPr>
                <a:defRPr/>
              </a:pPr>
              <a:t>16.12.2021</a:t>
            </a:fld>
            <a:endParaRPr lang="ru-RU"/>
          </a:p>
        </p:txBody>
      </p:sp>
      <p:sp>
        <p:nvSpPr>
          <p:cNvPr id="7" name="Footer Placeholder 8"/>
          <p:cNvSpPr>
            <a:spLocks noGrp="1"/>
          </p:cNvSpPr>
          <p:nvPr>
            <p:ph type="ftr" sz="quarter" idx="11"/>
          </p:nvPr>
        </p:nvSpPr>
        <p:spPr>
          <a:xfrm>
            <a:off x="804333" y="6235701"/>
            <a:ext cx="5124451" cy="320675"/>
          </a:xfrm>
        </p:spPr>
        <p:txBody>
          <a:bodyPr/>
          <a:lstStyle>
            <a:lvl1pPr defTabSz="914400" fontAlgn="base">
              <a:spcBef>
                <a:spcPct val="0"/>
              </a:spcBef>
              <a:spcAft>
                <a:spcPct val="0"/>
              </a:spcAft>
              <a:defRPr>
                <a:solidFill>
                  <a:srgbClr val="FFFFFF">
                    <a:alpha val="70000"/>
                  </a:srgbClr>
                </a:solidFill>
                <a:latin typeface="Arial" pitchFamily="34" charset="0"/>
                <a:cs typeface="Arial" pitchFamily="34" charset="0"/>
              </a:defRPr>
            </a:lvl1pPr>
          </a:lstStyle>
          <a:p>
            <a:pPr>
              <a:defRPr/>
            </a:pPr>
            <a:endParaRPr lang="ru-RU"/>
          </a:p>
        </p:txBody>
      </p:sp>
      <p:sp>
        <p:nvSpPr>
          <p:cNvPr id="8" name="Slide Number Placeholder 9"/>
          <p:cNvSpPr>
            <a:spLocks noGrp="1"/>
          </p:cNvSpPr>
          <p:nvPr>
            <p:ph type="sldNum" sz="quarter" idx="12"/>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BD4EDB45-63C3-4E16-9A08-55702BF882D5}" type="slidenum">
              <a:rPr lang="ru-RU"/>
              <a:pPr>
                <a:defRPr/>
              </a:pPr>
              <a:t>‹#›</a:t>
            </a:fld>
            <a:endParaRPr lang="ru-RU"/>
          </a:p>
        </p:txBody>
      </p:sp>
    </p:spTree>
    <p:extLst>
      <p:ext uri="{BB962C8B-B14F-4D97-AF65-F5344CB8AC3E}">
        <p14:creationId xmlns:p14="http://schemas.microsoft.com/office/powerpoint/2010/main" val="143719364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37BA8F63-7B9D-40F3-84B0-C1F65B1F326B}" type="datetimeFigureOut">
              <a:rPr lang="ru-RU"/>
              <a:pPr>
                <a:defRPr/>
              </a:pPr>
              <a:t>16.12.2021</a:t>
            </a:fld>
            <a:endParaRPr lang="ru-RU"/>
          </a:p>
        </p:txBody>
      </p:sp>
      <p:sp>
        <p:nvSpPr>
          <p:cNvPr id="5" name="Footer Placeholder 4"/>
          <p:cNvSpPr>
            <a:spLocks noGrp="1"/>
          </p:cNvSpPr>
          <p:nvPr>
            <p:ph type="ftr" sz="quarter" idx="11"/>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endParaRPr lang="ru-RU"/>
          </a:p>
        </p:txBody>
      </p:sp>
      <p:sp>
        <p:nvSpPr>
          <p:cNvPr id="6" name="Slide Number Placeholder 5"/>
          <p:cNvSpPr>
            <a:spLocks noGrp="1"/>
          </p:cNvSpPr>
          <p:nvPr>
            <p:ph type="sldNum" sz="quarter" idx="12"/>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CCF4E1D5-474A-4A08-A50B-D45C3B243D96}" type="slidenum">
              <a:rPr lang="ru-RU"/>
              <a:pPr>
                <a:defRPr/>
              </a:pPr>
              <a:t>‹#›</a:t>
            </a:fld>
            <a:endParaRPr lang="ru-RU"/>
          </a:p>
        </p:txBody>
      </p:sp>
    </p:spTree>
    <p:extLst>
      <p:ext uri="{BB962C8B-B14F-4D97-AF65-F5344CB8AC3E}">
        <p14:creationId xmlns:p14="http://schemas.microsoft.com/office/powerpoint/2010/main" val="1222525194"/>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53112" y="937260"/>
            <a:ext cx="1298608" cy="4983480"/>
          </a:xfrm>
        </p:spPr>
        <p:txBody>
          <a:bodyPr vert="eaVert"/>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2231290" y="937260"/>
            <a:ext cx="6198489" cy="498348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4AC240A0-F58E-4313-B1B8-7BB659A00087}" type="datetimeFigureOut">
              <a:rPr lang="ru-RU"/>
              <a:pPr>
                <a:defRPr/>
              </a:pPr>
              <a:t>16.12.2021</a:t>
            </a:fld>
            <a:endParaRPr lang="ru-RU"/>
          </a:p>
        </p:txBody>
      </p:sp>
      <p:sp>
        <p:nvSpPr>
          <p:cNvPr id="5" name="Footer Placeholder 4"/>
          <p:cNvSpPr>
            <a:spLocks noGrp="1"/>
          </p:cNvSpPr>
          <p:nvPr>
            <p:ph type="ftr" sz="quarter" idx="11"/>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endParaRPr lang="ru-RU"/>
          </a:p>
        </p:txBody>
      </p:sp>
      <p:sp>
        <p:nvSpPr>
          <p:cNvPr id="6" name="Slide Number Placeholder 5"/>
          <p:cNvSpPr>
            <a:spLocks noGrp="1"/>
          </p:cNvSpPr>
          <p:nvPr>
            <p:ph type="sldNum" sz="quarter" idx="12"/>
          </p:nvPr>
        </p:nvSpPr>
        <p:spPr/>
        <p:txBody>
          <a:bodyPr/>
          <a:lstStyle>
            <a:lvl1pPr defTabSz="914400" fontAlgn="base">
              <a:spcBef>
                <a:spcPct val="0"/>
              </a:spcBef>
              <a:spcAft>
                <a:spcPct val="0"/>
              </a:spcAft>
              <a:defRPr>
                <a:latin typeface="Arial" pitchFamily="34" charset="0"/>
                <a:cs typeface="Arial" pitchFamily="34" charset="0"/>
              </a:defRPr>
            </a:lvl1pPr>
          </a:lstStyle>
          <a:p>
            <a:pPr>
              <a:defRPr/>
            </a:pPr>
            <a:fld id="{E22C0C38-2065-406C-B6C8-09DEBC65FBD5}" type="slidenum">
              <a:rPr lang="ru-RU"/>
              <a:pPr>
                <a:defRPr/>
              </a:pPr>
              <a:t>‹#›</a:t>
            </a:fld>
            <a:endParaRPr lang="ru-RU"/>
          </a:p>
        </p:txBody>
      </p:sp>
    </p:spTree>
    <p:extLst>
      <p:ext uri="{BB962C8B-B14F-4D97-AF65-F5344CB8AC3E}">
        <p14:creationId xmlns:p14="http://schemas.microsoft.com/office/powerpoint/2010/main" val="161030898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567188071"/>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3862659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DC55D839-F8E4-473B-A82C-97C6233A5E38}" type="slidenum">
              <a:rPr lang="ru-RU"/>
              <a:pPr>
                <a:defRPr/>
              </a:pPr>
              <a:t>‹#›</a:t>
            </a:fld>
            <a:endParaRPr lang="ru-RU"/>
          </a:p>
        </p:txBody>
      </p:sp>
    </p:spTree>
    <p:extLst>
      <p:ext uri="{BB962C8B-B14F-4D97-AF65-F5344CB8AC3E}">
        <p14:creationId xmlns:p14="http://schemas.microsoft.com/office/powerpoint/2010/main" val="239678554"/>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25953360"/>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722740378"/>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5446438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60545406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964111663"/>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174839963"/>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48692982"/>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995553057"/>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504210653"/>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734285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p>
        </p:txBody>
      </p:sp>
      <p:sp>
        <p:nvSpPr>
          <p:cNvPr id="8" name="Rectangle 5"/>
          <p:cNvSpPr>
            <a:spLocks noGrp="1" noChangeArrowheads="1"/>
          </p:cNvSpPr>
          <p:nvPr>
            <p:ph type="ftr" sz="quarter" idx="11"/>
          </p:nvPr>
        </p:nvSpPr>
        <p:spPr>
          <a:ln/>
        </p:spPr>
        <p:txBody>
          <a:bodyPr/>
          <a:lstStyle>
            <a:lvl1pPr>
              <a:defRPr/>
            </a:lvl1pPr>
          </a:lstStyle>
          <a:p>
            <a:pPr>
              <a:defRPr/>
            </a:pPr>
            <a:endParaRPr lang="ru-RU"/>
          </a:p>
        </p:txBody>
      </p:sp>
      <p:sp>
        <p:nvSpPr>
          <p:cNvPr id="9" name="Rectangle 6"/>
          <p:cNvSpPr>
            <a:spLocks noGrp="1" noChangeArrowheads="1"/>
          </p:cNvSpPr>
          <p:nvPr>
            <p:ph type="sldNum" sz="quarter" idx="12"/>
          </p:nvPr>
        </p:nvSpPr>
        <p:spPr>
          <a:ln/>
        </p:spPr>
        <p:txBody>
          <a:bodyPr/>
          <a:lstStyle>
            <a:lvl1pPr>
              <a:defRPr/>
            </a:lvl1pPr>
          </a:lstStyle>
          <a:p>
            <a:pPr>
              <a:defRPr/>
            </a:pPr>
            <a:fld id="{806198DC-E608-4AD7-A115-605094C639B7}" type="slidenum">
              <a:rPr lang="ru-RU"/>
              <a:pPr>
                <a:defRPr/>
              </a:pPr>
              <a:t>‹#›</a:t>
            </a:fld>
            <a:endParaRPr lang="ru-RU"/>
          </a:p>
        </p:txBody>
      </p:sp>
    </p:spTree>
    <p:extLst>
      <p:ext uri="{BB962C8B-B14F-4D97-AF65-F5344CB8AC3E}">
        <p14:creationId xmlns:p14="http://schemas.microsoft.com/office/powerpoint/2010/main" val="3303036061"/>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3361142"/>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63768555"/>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234203628"/>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890062261"/>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915643592"/>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44763129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83975183"/>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091874136"/>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944822606"/>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ru-RU" smtClean="0"/>
              <a:t>Образец заголовка</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pPr>
              <a:defRPr/>
            </a:pPr>
            <a:fld id="{23763C55-AA1C-47D1-BAC2-D5B1481597BE}"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96F441BE-2FE6-46EF-AB9E-A53060FD3056}" type="slidenum">
              <a:rPr lang="ru-RU" smtClean="0"/>
              <a:pPr>
                <a:defRPr/>
              </a:pPr>
              <a:t>‹#›</a:t>
            </a:fld>
            <a:endParaRPr lang="ru-RU"/>
          </a:p>
        </p:txBody>
      </p:sp>
    </p:spTree>
    <p:extLst>
      <p:ext uri="{BB962C8B-B14F-4D97-AF65-F5344CB8AC3E}">
        <p14:creationId xmlns:p14="http://schemas.microsoft.com/office/powerpoint/2010/main" val="2297486483"/>
      </p:ext>
    </p:extLst>
  </p:cSld>
  <p:clrMapOvr>
    <a:masterClrMapping/>
  </p:clrMapOvr>
  <p:transition spd="med">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B4C71EC6-210F-42DE-9C53-41977AD35B3D}" type="datetimeFigureOut">
              <a:rPr lang="ru-RU" smtClean="0"/>
              <a:t>16.12.2021</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1595C005-B6F0-44DB-8F4F-C8D664459AA3}" type="slidenum">
              <a:rPr lang="ru-RU"/>
              <a:pPr>
                <a:defRPr/>
              </a:pPr>
              <a:t>‹#›</a:t>
            </a:fld>
            <a:endParaRPr lang="ru-RU"/>
          </a:p>
        </p:txBody>
      </p:sp>
    </p:spTree>
    <p:extLst>
      <p:ext uri="{BB962C8B-B14F-4D97-AF65-F5344CB8AC3E}">
        <p14:creationId xmlns:p14="http://schemas.microsoft.com/office/powerpoint/2010/main" val="2325728281"/>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3"/>
          <p:cNvSpPr>
            <a:spLocks noGrp="1"/>
          </p:cNvSpPr>
          <p:nvPr>
            <p:ph type="dt" sz="half" idx="10"/>
          </p:nvPr>
        </p:nvSpPr>
        <p:spPr/>
        <p:txBody>
          <a:bodyPr/>
          <a:lstStyle/>
          <a:p>
            <a:pPr>
              <a:defRPr/>
            </a:pPr>
            <a:fld id="{84264BD8-536A-43B6-B826-6CA7BB68FFE3}"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64F7C138-4C5C-431E-9826-21A8B9B621D6}" type="slidenum">
              <a:rPr lang="ru-RU" smtClean="0"/>
              <a:pPr>
                <a:defRPr/>
              </a:pPr>
              <a:t>‹#›</a:t>
            </a:fld>
            <a:endParaRPr lang="ru-RU"/>
          </a:p>
        </p:txBody>
      </p:sp>
    </p:spTree>
    <p:extLst>
      <p:ext uri="{BB962C8B-B14F-4D97-AF65-F5344CB8AC3E}">
        <p14:creationId xmlns:p14="http://schemas.microsoft.com/office/powerpoint/2010/main" val="749423540"/>
      </p:ext>
    </p:extLst>
  </p:cSld>
  <p:clrMapOvr>
    <a:masterClrMapping/>
  </p:clrMapOvr>
  <p:transition spd="med">
    <p:fade/>
  </p:transition>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1154956" y="2861733"/>
            <a:ext cx="8825657" cy="1915647"/>
          </a:xfrm>
        </p:spPr>
        <p:txBody>
          <a:bodyPr anchor="b"/>
          <a:lstStyle>
            <a:lvl1pPr algn="l">
              <a:defRPr sz="4000" b="0" cap="none"/>
            </a:lvl1pPr>
          </a:lstStyle>
          <a:p>
            <a:r>
              <a:rPr lang="ru-RU" smtClean="0"/>
              <a:t>Образец заголовка</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all">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pPr>
              <a:defRPr/>
            </a:pPr>
            <a:fld id="{828E2C6D-CE93-4DF6-A206-DB7F40A03784}"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2B7A9DDE-CFEE-42B7-9FA4-CE7C9760ABFD}" type="slidenum">
              <a:rPr lang="ru-RU" smtClean="0"/>
              <a:pPr>
                <a:defRPr/>
              </a:pPr>
              <a:t>‹#›</a:t>
            </a:fld>
            <a:endParaRPr lang="ru-RU"/>
          </a:p>
        </p:txBody>
      </p:sp>
    </p:spTree>
    <p:extLst>
      <p:ext uri="{BB962C8B-B14F-4D97-AF65-F5344CB8AC3E}">
        <p14:creationId xmlns:p14="http://schemas.microsoft.com/office/powerpoint/2010/main" val="845450474"/>
      </p:ext>
    </p:extLst>
  </p:cSld>
  <p:clrMapOvr>
    <a:masterClrMapping/>
  </p:clrMapOvr>
  <p:transition spd="med">
    <p:fade/>
  </p:transition>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pPr>
              <a:defRPr/>
            </a:pPr>
            <a:fld id="{A5857CBB-7D25-4CDF-8C64-1F5323BF347E}" type="datetimeFigureOut">
              <a:rPr lang="ru-RU" smtClean="0"/>
              <a:pPr>
                <a:defRPr/>
              </a:pPr>
              <a:t>16.12.2021</a:t>
            </a:fld>
            <a:endParaRPr lang="ru-RU"/>
          </a:p>
        </p:txBody>
      </p:sp>
      <p:sp>
        <p:nvSpPr>
          <p:cNvPr id="6" name="Footer Placeholder 5"/>
          <p:cNvSpPr>
            <a:spLocks noGrp="1"/>
          </p:cNvSpPr>
          <p:nvPr>
            <p:ph type="ftr" sz="quarter" idx="11"/>
          </p:nvPr>
        </p:nvSpPr>
        <p:spPr/>
        <p:txBody>
          <a:bodyPr/>
          <a:lstStyle/>
          <a:p>
            <a:pPr>
              <a:defRPr/>
            </a:pPr>
            <a:endParaRPr lang="ru-RU"/>
          </a:p>
        </p:txBody>
      </p:sp>
      <p:sp>
        <p:nvSpPr>
          <p:cNvPr id="7" name="Slide Number Placeholder 6"/>
          <p:cNvSpPr>
            <a:spLocks noGrp="1"/>
          </p:cNvSpPr>
          <p:nvPr>
            <p:ph type="sldNum" sz="quarter" idx="12"/>
          </p:nvPr>
        </p:nvSpPr>
        <p:spPr/>
        <p:txBody>
          <a:bodyPr/>
          <a:lstStyle/>
          <a:p>
            <a:pPr>
              <a:defRPr/>
            </a:pPr>
            <a:fld id="{1B6D2C08-E332-4344-BE20-90961A71ED8E}" type="slidenum">
              <a:rPr lang="ru-RU" smtClean="0"/>
              <a:pPr>
                <a:defRPr/>
              </a:pPr>
              <a:t>‹#›</a:t>
            </a:fld>
            <a:endParaRPr lang="ru-RU"/>
          </a:p>
        </p:txBody>
      </p:sp>
    </p:spTree>
    <p:extLst>
      <p:ext uri="{BB962C8B-B14F-4D97-AF65-F5344CB8AC3E}">
        <p14:creationId xmlns:p14="http://schemas.microsoft.com/office/powerpoint/2010/main" val="1559606927"/>
      </p:ext>
    </p:extLst>
  </p:cSld>
  <p:clrMapOvr>
    <a:masterClrMapping/>
  </p:clrMapOvr>
  <p:transition spd="med">
    <p:fade/>
  </p:transition>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ru-RU" smtClean="0"/>
              <a:t>Образец заголовка</a:t>
            </a:r>
            <a:endParaRPr lang="en-US" dirty="0"/>
          </a:p>
        </p:txBody>
      </p:sp>
      <p:sp>
        <p:nvSpPr>
          <p:cNvPr id="3" name="Text Placeholder 2"/>
          <p:cNvSpPr>
            <a:spLocks noGrp="1"/>
          </p:cNvSpPr>
          <p:nvPr>
            <p:ph type="body" idx="1"/>
          </p:nvPr>
        </p:nvSpPr>
        <p:spPr>
          <a:xfrm>
            <a:off x="1103313" y="1905000"/>
            <a:ext cx="439633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103312"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5654495" y="1905000"/>
            <a:ext cx="4396339"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Content Placeholder 5"/>
          <p:cNvSpPr>
            <a:spLocks noGrp="1"/>
          </p:cNvSpPr>
          <p:nvPr>
            <p:ph sz="quarter" idx="4"/>
          </p:nvPr>
        </p:nvSpPr>
        <p:spPr>
          <a:xfrm>
            <a:off x="5654495"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pPr>
              <a:defRPr/>
            </a:pPr>
            <a:fld id="{A3E6CEA6-E3D1-4F08-8088-70DF58E3F8AE}" type="datetimeFigureOut">
              <a:rPr lang="ru-RU" smtClean="0"/>
              <a:pPr>
                <a:defRPr/>
              </a:pPr>
              <a:t>16.12.2021</a:t>
            </a:fld>
            <a:endParaRPr lang="ru-RU"/>
          </a:p>
        </p:txBody>
      </p:sp>
      <p:sp>
        <p:nvSpPr>
          <p:cNvPr id="8" name="Footer Placeholder 7"/>
          <p:cNvSpPr>
            <a:spLocks noGrp="1"/>
          </p:cNvSpPr>
          <p:nvPr>
            <p:ph type="ftr" sz="quarter" idx="11"/>
          </p:nvPr>
        </p:nvSpPr>
        <p:spPr/>
        <p:txBody>
          <a:bodyPr/>
          <a:lstStyle/>
          <a:p>
            <a:pPr>
              <a:defRPr/>
            </a:pPr>
            <a:endParaRPr lang="ru-RU"/>
          </a:p>
        </p:txBody>
      </p:sp>
      <p:sp>
        <p:nvSpPr>
          <p:cNvPr id="9" name="Slide Number Placeholder 8"/>
          <p:cNvSpPr>
            <a:spLocks noGrp="1"/>
          </p:cNvSpPr>
          <p:nvPr>
            <p:ph type="sldNum" sz="quarter" idx="12"/>
          </p:nvPr>
        </p:nvSpPr>
        <p:spPr/>
        <p:txBody>
          <a:bodyPr/>
          <a:lstStyle/>
          <a:p>
            <a:pPr>
              <a:defRPr/>
            </a:pPr>
            <a:fld id="{4F43195F-BF18-4E42-832F-A0E025CE7DA3}" type="slidenum">
              <a:rPr lang="ru-RU" smtClean="0"/>
              <a:pPr>
                <a:defRPr/>
              </a:pPr>
              <a:t>‹#›</a:t>
            </a:fld>
            <a:endParaRPr lang="ru-RU"/>
          </a:p>
        </p:txBody>
      </p:sp>
    </p:spTree>
    <p:extLst>
      <p:ext uri="{BB962C8B-B14F-4D97-AF65-F5344CB8AC3E}">
        <p14:creationId xmlns:p14="http://schemas.microsoft.com/office/powerpoint/2010/main" val="2550966262"/>
      </p:ext>
    </p:extLst>
  </p:cSld>
  <p:clrMapOvr>
    <a:masterClrMapping/>
  </p:clrMapOvr>
  <p:transition spd="med">
    <p:fade/>
  </p:transition>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7" name="Date Placeholder 2"/>
          <p:cNvSpPr>
            <a:spLocks noGrp="1"/>
          </p:cNvSpPr>
          <p:nvPr>
            <p:ph type="dt" sz="half" idx="10"/>
          </p:nvPr>
        </p:nvSpPr>
        <p:spPr/>
        <p:txBody>
          <a:bodyPr/>
          <a:lstStyle/>
          <a:p>
            <a:pPr>
              <a:defRPr/>
            </a:pPr>
            <a:fld id="{978C47DD-F93D-412A-B2F8-99E512638A68}" type="datetimeFigureOut">
              <a:rPr lang="ru-RU" smtClean="0"/>
              <a:pPr>
                <a:defRPr/>
              </a:pPr>
              <a:t>16.12.2021</a:t>
            </a:fld>
            <a:endParaRPr lang="ru-RU"/>
          </a:p>
        </p:txBody>
      </p:sp>
      <p:sp>
        <p:nvSpPr>
          <p:cNvPr id="5" name="Footer Placeholder 3"/>
          <p:cNvSpPr>
            <a:spLocks noGrp="1"/>
          </p:cNvSpPr>
          <p:nvPr>
            <p:ph type="ftr" sz="quarter" idx="11"/>
          </p:nvPr>
        </p:nvSpPr>
        <p:spPr/>
        <p:txBody>
          <a:bodyPr/>
          <a:lstStyle/>
          <a:p>
            <a:pPr>
              <a:defRPr/>
            </a:pPr>
            <a:endParaRPr lang="ru-RU"/>
          </a:p>
        </p:txBody>
      </p:sp>
      <p:sp>
        <p:nvSpPr>
          <p:cNvPr id="6" name="Slide Number Placeholder 4"/>
          <p:cNvSpPr>
            <a:spLocks noGrp="1"/>
          </p:cNvSpPr>
          <p:nvPr>
            <p:ph type="sldNum" sz="quarter" idx="12"/>
          </p:nvPr>
        </p:nvSpPr>
        <p:spPr/>
        <p:txBody>
          <a:bodyPr/>
          <a:lstStyle/>
          <a:p>
            <a:pPr>
              <a:defRPr/>
            </a:pPr>
            <a:fld id="{54C358DE-45BF-442F-84EB-9F6500DA9B86}" type="slidenum">
              <a:rPr lang="ru-RU" smtClean="0"/>
              <a:pPr>
                <a:defRPr/>
              </a:pPr>
              <a:t>‹#›</a:t>
            </a:fld>
            <a:endParaRPr lang="ru-RU"/>
          </a:p>
        </p:txBody>
      </p:sp>
    </p:spTree>
    <p:extLst>
      <p:ext uri="{BB962C8B-B14F-4D97-AF65-F5344CB8AC3E}">
        <p14:creationId xmlns:p14="http://schemas.microsoft.com/office/powerpoint/2010/main" val="783085670"/>
      </p:ext>
    </p:extLst>
  </p:cSld>
  <p:clrMapOvr>
    <a:masterClrMapping/>
  </p:clrMapOvr>
  <p:transition spd="med">
    <p:fade/>
  </p:transition>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pPr>
              <a:defRPr/>
            </a:pPr>
            <a:fld id="{22B6CAFD-0465-4CBA-BCD2-38510FFD9DE3}" type="datetimeFigureOut">
              <a:rPr lang="ru-RU" smtClean="0"/>
              <a:pPr>
                <a:defRPr/>
              </a:pPr>
              <a:t>16.12.2021</a:t>
            </a:fld>
            <a:endParaRPr lang="ru-RU"/>
          </a:p>
        </p:txBody>
      </p:sp>
      <p:sp>
        <p:nvSpPr>
          <p:cNvPr id="5" name="Footer Placeholder 2"/>
          <p:cNvSpPr>
            <a:spLocks noGrp="1"/>
          </p:cNvSpPr>
          <p:nvPr>
            <p:ph type="ftr" sz="quarter" idx="11"/>
          </p:nvPr>
        </p:nvSpPr>
        <p:spPr/>
        <p:txBody>
          <a:bodyPr/>
          <a:lstStyle/>
          <a:p>
            <a:pPr>
              <a:defRPr/>
            </a:pPr>
            <a:endParaRPr lang="ru-RU"/>
          </a:p>
        </p:txBody>
      </p:sp>
      <p:sp>
        <p:nvSpPr>
          <p:cNvPr id="6" name="Slide Number Placeholder 3"/>
          <p:cNvSpPr>
            <a:spLocks noGrp="1"/>
          </p:cNvSpPr>
          <p:nvPr>
            <p:ph type="sldNum" sz="quarter" idx="12"/>
          </p:nvPr>
        </p:nvSpPr>
        <p:spPr/>
        <p:txBody>
          <a:bodyPr/>
          <a:lstStyle/>
          <a:p>
            <a:pPr>
              <a:defRPr/>
            </a:pPr>
            <a:fld id="{96F2AC0F-16A8-4A2E-B92C-4C65EF427040}" type="slidenum">
              <a:rPr lang="ru-RU" smtClean="0"/>
              <a:pPr>
                <a:defRPr/>
              </a:pPr>
              <a:t>‹#›</a:t>
            </a:fld>
            <a:endParaRPr lang="ru-RU"/>
          </a:p>
        </p:txBody>
      </p:sp>
    </p:spTree>
    <p:extLst>
      <p:ext uri="{BB962C8B-B14F-4D97-AF65-F5344CB8AC3E}">
        <p14:creationId xmlns:p14="http://schemas.microsoft.com/office/powerpoint/2010/main" val="2452631572"/>
      </p:ext>
    </p:extLst>
  </p:cSld>
  <p:clrMapOvr>
    <a:masterClrMapping/>
  </p:clrMapOvr>
  <p:transition spd="med">
    <p:fade/>
  </p:transition>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154953" y="1447800"/>
            <a:ext cx="3401064" cy="1447800"/>
          </a:xfrm>
        </p:spPr>
        <p:txBody>
          <a:bodyPr anchor="b"/>
          <a:lstStyle>
            <a:lvl1pPr algn="l">
              <a:defRPr sz="2400" b="0"/>
            </a:lvl1pPr>
          </a:lstStyle>
          <a:p>
            <a:r>
              <a:rPr lang="ru-RU" smtClean="0"/>
              <a:t>Образец заголовка</a:t>
            </a:r>
            <a:endParaRPr lang="en-US" dirty="0"/>
          </a:p>
        </p:txBody>
      </p:sp>
      <p:sp>
        <p:nvSpPr>
          <p:cNvPr id="3" name="Content Placeholder 2"/>
          <p:cNvSpPr>
            <a:spLocks noGrp="1"/>
          </p:cNvSpPr>
          <p:nvPr>
            <p:ph idx="1"/>
          </p:nvPr>
        </p:nvSpPr>
        <p:spPr>
          <a:xfrm>
            <a:off x="4784616" y="1447800"/>
            <a:ext cx="5195997"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154953" y="3129280"/>
            <a:ext cx="3401063"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7" name="Date Placeholder 4"/>
          <p:cNvSpPr>
            <a:spLocks noGrp="1"/>
          </p:cNvSpPr>
          <p:nvPr>
            <p:ph type="dt" sz="half" idx="10"/>
          </p:nvPr>
        </p:nvSpPr>
        <p:spPr/>
        <p:txBody>
          <a:bodyPr/>
          <a:lstStyle/>
          <a:p>
            <a:pPr>
              <a:defRPr/>
            </a:pPr>
            <a:fld id="{3567E8A0-AF72-48A8-BC93-C02F91C28A50}" type="datetimeFigureOut">
              <a:rPr lang="ru-RU" smtClean="0"/>
              <a:pPr>
                <a:defRPr/>
              </a:pPr>
              <a:t>16.12.2021</a:t>
            </a:fld>
            <a:endParaRPr lang="ru-RU"/>
          </a:p>
        </p:txBody>
      </p:sp>
      <p:sp>
        <p:nvSpPr>
          <p:cNvPr id="5" name="Footer Placeholder 5"/>
          <p:cNvSpPr>
            <a:spLocks noGrp="1"/>
          </p:cNvSpPr>
          <p:nvPr>
            <p:ph type="ftr" sz="quarter" idx="11"/>
          </p:nvPr>
        </p:nvSpPr>
        <p:spPr/>
        <p:txBody>
          <a:bodyPr/>
          <a:lstStyle/>
          <a:p>
            <a:pPr>
              <a:defRPr/>
            </a:pPr>
            <a:endParaRPr lang="ru-RU"/>
          </a:p>
        </p:txBody>
      </p:sp>
      <p:sp>
        <p:nvSpPr>
          <p:cNvPr id="6" name="Slide Number Placeholder 6"/>
          <p:cNvSpPr>
            <a:spLocks noGrp="1"/>
          </p:cNvSpPr>
          <p:nvPr>
            <p:ph type="sldNum" sz="quarter" idx="12"/>
          </p:nvPr>
        </p:nvSpPr>
        <p:spPr/>
        <p:txBody>
          <a:bodyPr/>
          <a:lstStyle/>
          <a:p>
            <a:pPr>
              <a:defRPr/>
            </a:pPr>
            <a:fld id="{1B0BE89B-5838-47DB-AE6D-6042264EEBEB}" type="slidenum">
              <a:rPr lang="ru-RU" smtClean="0"/>
              <a:pPr>
                <a:defRPr/>
              </a:pPr>
              <a:t>‹#›</a:t>
            </a:fld>
            <a:endParaRPr lang="ru-RU"/>
          </a:p>
        </p:txBody>
      </p:sp>
    </p:spTree>
    <p:extLst>
      <p:ext uri="{BB962C8B-B14F-4D97-AF65-F5344CB8AC3E}">
        <p14:creationId xmlns:p14="http://schemas.microsoft.com/office/powerpoint/2010/main" val="1016543467"/>
      </p:ext>
    </p:extLst>
  </p:cSld>
  <p:clrMapOvr>
    <a:masterClrMapping/>
  </p:clrMapOvr>
  <p:transition spd="med">
    <p:fade/>
  </p:transition>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153907" y="1854192"/>
            <a:ext cx="5092906" cy="1574808"/>
          </a:xfrm>
        </p:spPr>
        <p:txBody>
          <a:bodyPr anchor="b">
            <a:normAutofit/>
          </a:bodyPr>
          <a:lstStyle>
            <a:lvl1pPr algn="l">
              <a:defRPr sz="3600" b="0"/>
            </a:lvl1pPr>
          </a:lstStyle>
          <a:p>
            <a:r>
              <a:rPr lang="ru-RU" smtClean="0"/>
              <a:t>Образец заголовка</a:t>
            </a:r>
            <a:endParaRPr lang="en-US" dirty="0"/>
          </a:p>
        </p:txBody>
      </p:sp>
      <p:sp>
        <p:nvSpPr>
          <p:cNvPr id="3" name="Picture Placeholder 2"/>
          <p:cNvSpPr>
            <a:spLocks noGrp="1" noChangeAspect="1"/>
          </p:cNvSpPr>
          <p:nvPr>
            <p:ph type="pic" idx="1"/>
          </p:nvPr>
        </p:nvSpPr>
        <p:spPr>
          <a:xfrm>
            <a:off x="6949546" y="1143000"/>
            <a:ext cx="3200400"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smtClean="0"/>
              <a:t>Вставка рисунка</a:t>
            </a:r>
            <a:endParaRPr lang="en-US" dirty="0"/>
          </a:p>
        </p:txBody>
      </p:sp>
      <p:sp>
        <p:nvSpPr>
          <p:cNvPr id="4" name="Text Placeholder 3"/>
          <p:cNvSpPr>
            <a:spLocks noGrp="1"/>
          </p:cNvSpPr>
          <p:nvPr>
            <p:ph type="body" sz="half" idx="2"/>
          </p:nvPr>
        </p:nvSpPr>
        <p:spPr>
          <a:xfrm>
            <a:off x="1154954" y="3657600"/>
            <a:ext cx="5084979"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pPr>
              <a:defRPr/>
            </a:pPr>
            <a:fld id="{7F4936DE-3D43-4A0D-A92C-3256FA9E61C1}" type="datetimeFigureOut">
              <a:rPr lang="ru-RU" smtClean="0"/>
              <a:pPr>
                <a:defRPr/>
              </a:pPr>
              <a:t>16.12.2021</a:t>
            </a:fld>
            <a:endParaRPr lang="ru-RU"/>
          </a:p>
        </p:txBody>
      </p:sp>
      <p:sp>
        <p:nvSpPr>
          <p:cNvPr id="6" name="Footer Placeholder 5"/>
          <p:cNvSpPr>
            <a:spLocks noGrp="1"/>
          </p:cNvSpPr>
          <p:nvPr>
            <p:ph type="ftr" sz="quarter" idx="11"/>
          </p:nvPr>
        </p:nvSpPr>
        <p:spPr/>
        <p:txBody>
          <a:bodyPr/>
          <a:lstStyle/>
          <a:p>
            <a:pPr>
              <a:defRPr/>
            </a:pPr>
            <a:endParaRPr lang="ru-RU"/>
          </a:p>
        </p:txBody>
      </p:sp>
      <p:sp>
        <p:nvSpPr>
          <p:cNvPr id="7" name="Slide Number Placeholder 6"/>
          <p:cNvSpPr>
            <a:spLocks noGrp="1"/>
          </p:cNvSpPr>
          <p:nvPr>
            <p:ph type="sldNum" sz="quarter" idx="12"/>
          </p:nvPr>
        </p:nvSpPr>
        <p:spPr/>
        <p:txBody>
          <a:bodyPr/>
          <a:lstStyle/>
          <a:p>
            <a:pPr>
              <a:defRPr/>
            </a:pPr>
            <a:fld id="{23E20EB9-40DA-4910-BF80-FC2FF60F8C80}" type="slidenum">
              <a:rPr lang="ru-RU" smtClean="0"/>
              <a:pPr>
                <a:defRPr/>
              </a:pPr>
              <a:t>‹#›</a:t>
            </a:fld>
            <a:endParaRPr lang="ru-RU"/>
          </a:p>
        </p:txBody>
      </p:sp>
    </p:spTree>
    <p:extLst>
      <p:ext uri="{BB962C8B-B14F-4D97-AF65-F5344CB8AC3E}">
        <p14:creationId xmlns:p14="http://schemas.microsoft.com/office/powerpoint/2010/main" val="314904020"/>
      </p:ext>
    </p:extLst>
  </p:cSld>
  <p:clrMapOvr>
    <a:masterClrMapping/>
  </p:clrMapOvr>
  <p:transition spd="med">
    <p:fade/>
  </p:transition>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Панорамная фотография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154956" y="4800587"/>
            <a:ext cx="8825657" cy="566738"/>
          </a:xfrm>
        </p:spPr>
        <p:txBody>
          <a:bodyPr anchor="b">
            <a:normAutofit/>
          </a:bodyPr>
          <a:lstStyle>
            <a:lvl1pPr algn="l">
              <a:defRPr sz="2400" b="0"/>
            </a:lvl1pPr>
          </a:lstStyle>
          <a:p>
            <a:r>
              <a:rPr lang="ru-RU" smtClean="0"/>
              <a:t>Образец заголовка</a:t>
            </a:r>
            <a:endParaRPr lang="en-US" dirty="0"/>
          </a:p>
        </p:txBody>
      </p:sp>
      <p:sp>
        <p:nvSpPr>
          <p:cNvPr id="3" name="Picture Placeholder 2"/>
          <p:cNvSpPr>
            <a:spLocks noGrp="1" noChangeAspect="1"/>
          </p:cNvSpPr>
          <p:nvPr>
            <p:ph type="pic" idx="1"/>
          </p:nvPr>
        </p:nvSpPr>
        <p:spPr>
          <a:xfrm>
            <a:off x="1154955" y="685800"/>
            <a:ext cx="882565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smtClean="0"/>
              <a:t>Вставка рисунка</a:t>
            </a:r>
            <a:endParaRPr lang="en-US" dirty="0"/>
          </a:p>
        </p:txBody>
      </p:sp>
      <p:sp>
        <p:nvSpPr>
          <p:cNvPr id="4" name="Text Placeholder 3"/>
          <p:cNvSpPr>
            <a:spLocks noGrp="1"/>
          </p:cNvSpPr>
          <p:nvPr>
            <p:ph type="body" sz="half" idx="2"/>
          </p:nvPr>
        </p:nvSpPr>
        <p:spPr>
          <a:xfrm>
            <a:off x="1154956" y="5367325"/>
            <a:ext cx="882565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pPr>
              <a:defRPr/>
            </a:pPr>
            <a:fld id="{2C7427A2-F5DB-4501-BC78-8196BFD9E187}" type="datetimeFigureOut">
              <a:rPr lang="ru-RU" smtClean="0"/>
              <a:pPr>
                <a:defRPr/>
              </a:pPr>
              <a:t>16.12.2021</a:t>
            </a:fld>
            <a:endParaRPr lang="ru-RU"/>
          </a:p>
        </p:txBody>
      </p:sp>
      <p:sp>
        <p:nvSpPr>
          <p:cNvPr id="6" name="Footer Placeholder 5"/>
          <p:cNvSpPr>
            <a:spLocks noGrp="1"/>
          </p:cNvSpPr>
          <p:nvPr>
            <p:ph type="ftr" sz="quarter" idx="11"/>
          </p:nvPr>
        </p:nvSpPr>
        <p:spPr/>
        <p:txBody>
          <a:bodyPr/>
          <a:lstStyle/>
          <a:p>
            <a:pPr>
              <a:defRPr/>
            </a:pPr>
            <a:endParaRPr lang="ru-RU"/>
          </a:p>
        </p:txBody>
      </p:sp>
      <p:sp>
        <p:nvSpPr>
          <p:cNvPr id="7" name="Slide Number Placeholder 6"/>
          <p:cNvSpPr>
            <a:spLocks noGrp="1"/>
          </p:cNvSpPr>
          <p:nvPr>
            <p:ph type="sldNum" sz="quarter" idx="12"/>
          </p:nvPr>
        </p:nvSpPr>
        <p:spPr/>
        <p:txBody>
          <a:bodyPr/>
          <a:lstStyle/>
          <a:p>
            <a:pPr>
              <a:defRPr/>
            </a:pPr>
            <a:fld id="{D045F718-1FF2-43B0-9152-3254C52960C4}" type="slidenum">
              <a:rPr lang="ru-RU" smtClean="0"/>
              <a:pPr>
                <a:defRPr/>
              </a:pPr>
              <a:t>‹#›</a:t>
            </a:fld>
            <a:endParaRPr lang="ru-RU"/>
          </a:p>
        </p:txBody>
      </p:sp>
    </p:spTree>
    <p:extLst>
      <p:ext uri="{BB962C8B-B14F-4D97-AF65-F5344CB8AC3E}">
        <p14:creationId xmlns:p14="http://schemas.microsoft.com/office/powerpoint/2010/main" val="428819829"/>
      </p:ext>
    </p:extLst>
  </p:cSld>
  <p:clrMapOvr>
    <a:masterClrMapping/>
  </p:clrMapOvr>
  <p:transition spd="med">
    <p:fade/>
  </p:transition>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Заголовок и подпись">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8825659" cy="1981200"/>
          </a:xfrm>
        </p:spPr>
        <p:txBody>
          <a:bodyPr/>
          <a:lstStyle>
            <a:lvl1pPr>
              <a:defRPr sz="4800"/>
            </a:lvl1pPr>
          </a:lstStyle>
          <a:p>
            <a:r>
              <a:rPr lang="ru-RU" smtClean="0"/>
              <a:t>Образец заголовка</a:t>
            </a:r>
            <a:endParaRPr lang="en-US" dirty="0"/>
          </a:p>
        </p:txBody>
      </p:sp>
      <p:sp>
        <p:nvSpPr>
          <p:cNvPr id="8" name="Text Placeholder 3"/>
          <p:cNvSpPr>
            <a:spLocks noGrp="1"/>
          </p:cNvSpPr>
          <p:nvPr>
            <p:ph type="body" sz="half" idx="2"/>
          </p:nvPr>
        </p:nvSpPr>
        <p:spPr>
          <a:xfrm>
            <a:off x="1154954" y="3657600"/>
            <a:ext cx="8825659"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4" name="Date Placeholder 3"/>
          <p:cNvSpPr>
            <a:spLocks noGrp="1"/>
          </p:cNvSpPr>
          <p:nvPr>
            <p:ph type="dt" sz="half" idx="10"/>
          </p:nvPr>
        </p:nvSpPr>
        <p:spPr/>
        <p:txBody>
          <a:bodyPr/>
          <a:lstStyle/>
          <a:p>
            <a:pPr>
              <a:defRPr/>
            </a:pPr>
            <a:fld id="{09FC0E18-51ED-4969-93C6-591A53154215}"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DC15ECE5-1564-4175-92EB-CE8ADB280FF0}" type="slidenum">
              <a:rPr lang="ru-RU" smtClean="0"/>
              <a:pPr>
                <a:defRPr/>
              </a:pPr>
              <a:t>‹#›</a:t>
            </a:fld>
            <a:endParaRPr lang="ru-RU"/>
          </a:p>
        </p:txBody>
      </p:sp>
    </p:spTree>
    <p:extLst>
      <p:ext uri="{BB962C8B-B14F-4D97-AF65-F5344CB8AC3E}">
        <p14:creationId xmlns:p14="http://schemas.microsoft.com/office/powerpoint/2010/main" val="3745365333"/>
      </p:ext>
    </p:extLst>
  </p:cSld>
  <p:clrMapOvr>
    <a:masterClrMapping/>
  </p:clrMapOvr>
  <p:transition spd="med">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p>
        </p:txBody>
      </p:sp>
      <p:sp>
        <p:nvSpPr>
          <p:cNvPr id="3" name="Rectangle 5"/>
          <p:cNvSpPr>
            <a:spLocks noGrp="1" noChangeArrowheads="1"/>
          </p:cNvSpPr>
          <p:nvPr>
            <p:ph type="ftr" sz="quarter" idx="11"/>
          </p:nvPr>
        </p:nvSpPr>
        <p:spPr>
          <a:ln/>
        </p:spPr>
        <p:txBody>
          <a:bodyPr/>
          <a:lstStyle>
            <a:lvl1pPr>
              <a:defRPr/>
            </a:lvl1pPr>
          </a:lstStyle>
          <a:p>
            <a:pPr>
              <a:defRPr/>
            </a:pPr>
            <a:endParaRPr lang="ru-RU"/>
          </a:p>
        </p:txBody>
      </p:sp>
      <p:sp>
        <p:nvSpPr>
          <p:cNvPr id="4" name="Rectangle 6"/>
          <p:cNvSpPr>
            <a:spLocks noGrp="1" noChangeArrowheads="1"/>
          </p:cNvSpPr>
          <p:nvPr>
            <p:ph type="sldNum" sz="quarter" idx="12"/>
          </p:nvPr>
        </p:nvSpPr>
        <p:spPr>
          <a:ln/>
        </p:spPr>
        <p:txBody>
          <a:bodyPr/>
          <a:lstStyle>
            <a:lvl1pPr>
              <a:defRPr/>
            </a:lvl1pPr>
          </a:lstStyle>
          <a:p>
            <a:pPr>
              <a:defRPr/>
            </a:pPr>
            <a:fld id="{5090B662-4F4C-4292-B849-C42A81A27B30}" type="slidenum">
              <a:rPr lang="ru-RU"/>
              <a:pPr>
                <a:defRPr/>
              </a:pPr>
              <a:t>‹#›</a:t>
            </a:fld>
            <a:endParaRPr lang="ru-RU"/>
          </a:p>
        </p:txBody>
      </p:sp>
    </p:spTree>
    <p:extLst>
      <p:ext uri="{BB962C8B-B14F-4D97-AF65-F5344CB8AC3E}">
        <p14:creationId xmlns:p14="http://schemas.microsoft.com/office/powerpoint/2010/main" val="3698485145"/>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Цитата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574801" y="1447800"/>
            <a:ext cx="7999315" cy="2323374"/>
          </a:xfrm>
        </p:spPr>
        <p:txBody>
          <a:bodyPr/>
          <a:lstStyle>
            <a:lvl1pPr>
              <a:defRPr sz="4800"/>
            </a:lvl1pPr>
          </a:lstStyle>
          <a:p>
            <a:r>
              <a:rPr lang="ru-RU" smtClean="0"/>
              <a:t>Образец заголовка</a:t>
            </a:r>
            <a:endParaRPr lang="en-US" dirty="0"/>
          </a:p>
        </p:txBody>
      </p:sp>
      <p:sp>
        <p:nvSpPr>
          <p:cNvPr id="11" name="Text Placeholder 3"/>
          <p:cNvSpPr>
            <a:spLocks noGrp="1"/>
          </p:cNvSpPr>
          <p:nvPr>
            <p:ph type="body" sz="half" idx="14"/>
          </p:nvPr>
        </p:nvSpPr>
        <p:spPr>
          <a:xfrm>
            <a:off x="1930400" y="3771174"/>
            <a:ext cx="7279649" cy="342174"/>
          </a:xfrm>
        </p:spPr>
        <p:txBody>
          <a:bodyPr vert="horz" lIns="91440" tIns="45720" rIns="91440" bIns="45720" rtlCol="0" anchor="t">
            <a:normAutofit/>
          </a:bodyPr>
          <a:lstStyle>
            <a:lvl1pPr marL="0" indent="0">
              <a:buNone/>
              <a:defRPr lang="en-US" sz="14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ru-RU" smtClean="0"/>
              <a:t>Образец текста</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4" name="Date Placeholder 3"/>
          <p:cNvSpPr>
            <a:spLocks noGrp="1"/>
          </p:cNvSpPr>
          <p:nvPr>
            <p:ph type="dt" sz="half" idx="10"/>
          </p:nvPr>
        </p:nvSpPr>
        <p:spPr/>
        <p:txBody>
          <a:bodyPr/>
          <a:lstStyle/>
          <a:p>
            <a:pPr>
              <a:defRPr/>
            </a:pPr>
            <a:fld id="{5D8AD68D-D3F8-4945-925F-DF2AFA3471CB}"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EA38E6A6-4D5F-4E9B-8D20-984045E6A274}" type="slidenum">
              <a:rPr lang="ru-RU" smtClean="0"/>
              <a:pPr>
                <a:defRPr/>
              </a:pPr>
              <a:t>‹#›</a:t>
            </a:fld>
            <a:endParaRPr lang="ru-RU"/>
          </a:p>
        </p:txBody>
      </p:sp>
      <p:sp>
        <p:nvSpPr>
          <p:cNvPr id="12" name="TextBox 11"/>
          <p:cNvSpPr txBox="1"/>
          <p:nvPr/>
        </p:nvSpPr>
        <p:spPr>
          <a:xfrm>
            <a:off x="898295" y="971253"/>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
        <p:nvSpPr>
          <p:cNvPr id="15" name="TextBox 14"/>
          <p:cNvSpPr txBox="1"/>
          <p:nvPr/>
        </p:nvSpPr>
        <p:spPr>
          <a:xfrm>
            <a:off x="9330490" y="2613787"/>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Tree>
    <p:extLst>
      <p:ext uri="{BB962C8B-B14F-4D97-AF65-F5344CB8AC3E}">
        <p14:creationId xmlns:p14="http://schemas.microsoft.com/office/powerpoint/2010/main" val="1848628744"/>
      </p:ext>
    </p:extLst>
  </p:cSld>
  <p:clrMapOvr>
    <a:masterClrMapping/>
  </p:clrMapOvr>
  <p:transition spd="med">
    <p:fade/>
  </p:transition>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Карточка имени">
    <p:spTree>
      <p:nvGrpSpPr>
        <p:cNvPr id="1" name=""/>
        <p:cNvGrpSpPr/>
        <p:nvPr/>
      </p:nvGrpSpPr>
      <p:grpSpPr>
        <a:xfrm>
          <a:off x="0" y="0"/>
          <a:ext cx="0" cy="0"/>
          <a:chOff x="0" y="0"/>
          <a:chExt cx="0" cy="0"/>
        </a:xfrm>
      </p:grpSpPr>
      <p:sp>
        <p:nvSpPr>
          <p:cNvPr id="2" name="Title 1"/>
          <p:cNvSpPr>
            <a:spLocks noGrp="1"/>
          </p:cNvSpPr>
          <p:nvPr>
            <p:ph type="title"/>
          </p:nvPr>
        </p:nvSpPr>
        <p:spPr>
          <a:xfrm>
            <a:off x="1154954" y="3124201"/>
            <a:ext cx="8825660" cy="1653180"/>
          </a:xfrm>
        </p:spPr>
        <p:txBody>
          <a:bodyPr anchor="b"/>
          <a:lstStyle>
            <a:lvl1pPr algn="l">
              <a:defRPr sz="4000" b="0" cap="none"/>
            </a:lvl1pPr>
          </a:lstStyle>
          <a:p>
            <a:r>
              <a:rPr lang="ru-RU" smtClean="0"/>
              <a:t>Образец заголовка</a:t>
            </a:r>
            <a:endParaRPr lang="en-US" dirty="0"/>
          </a:p>
        </p:txBody>
      </p:sp>
      <p:sp>
        <p:nvSpPr>
          <p:cNvPr id="3" name="Text Placeholder 2"/>
          <p:cNvSpPr>
            <a:spLocks noGrp="1"/>
          </p:cNvSpPr>
          <p:nvPr>
            <p:ph type="body" idx="1"/>
          </p:nvPr>
        </p:nvSpPr>
        <p:spPr>
          <a:xfrm>
            <a:off x="1154954" y="4777381"/>
            <a:ext cx="8825659" cy="860400"/>
          </a:xfrm>
        </p:spPr>
        <p:txBody>
          <a:bodyPr anchor="t"/>
          <a:lstStyle>
            <a:lvl1pPr marL="0" indent="0" algn="l">
              <a:buNone/>
              <a:defRPr sz="2000" cap="none">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pPr>
              <a:defRPr/>
            </a:pPr>
            <a:fld id="{EC0C65DC-70E8-44BD-87A6-E6B9FF7F0E81}"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AE0BBB12-F54F-4521-BF1F-8950DAC0DC39}" type="slidenum">
              <a:rPr lang="ru-RU" smtClean="0"/>
              <a:pPr>
                <a:defRPr/>
              </a:pPr>
              <a:t>‹#›</a:t>
            </a:fld>
            <a:endParaRPr lang="ru-RU"/>
          </a:p>
        </p:txBody>
      </p:sp>
    </p:spTree>
    <p:extLst>
      <p:ext uri="{BB962C8B-B14F-4D97-AF65-F5344CB8AC3E}">
        <p14:creationId xmlns:p14="http://schemas.microsoft.com/office/powerpoint/2010/main" val="669190875"/>
      </p:ext>
    </p:extLst>
  </p:cSld>
  <p:clrMapOvr>
    <a:masterClrMapping/>
  </p:clrMapOvr>
  <p:transition spd="med">
    <p:fade/>
  </p:transition>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Три колонки">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ru-RU" smtClean="0"/>
              <a:t>Образец заголовка</a:t>
            </a:r>
            <a:endParaRPr lang="en-US" dirty="0"/>
          </a:p>
        </p:txBody>
      </p:sp>
      <p:sp>
        <p:nvSpPr>
          <p:cNvPr id="3" name="Text Placeholder 2"/>
          <p:cNvSpPr>
            <a:spLocks noGrp="1"/>
          </p:cNvSpPr>
          <p:nvPr>
            <p:ph type="body" idx="1"/>
          </p:nvPr>
        </p:nvSpPr>
        <p:spPr>
          <a:xfrm>
            <a:off x="632947" y="1981200"/>
            <a:ext cx="2946866"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16" name="Text Placeholder 3"/>
          <p:cNvSpPr>
            <a:spLocks noGrp="1"/>
          </p:cNvSpPr>
          <p:nvPr>
            <p:ph type="body" sz="half" idx="15"/>
          </p:nvPr>
        </p:nvSpPr>
        <p:spPr>
          <a:xfrm>
            <a:off x="652463" y="266700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Text Placeholder 4"/>
          <p:cNvSpPr>
            <a:spLocks noGrp="1"/>
          </p:cNvSpPr>
          <p:nvPr>
            <p:ph type="body" sz="quarter" idx="3"/>
          </p:nvPr>
        </p:nvSpPr>
        <p:spPr>
          <a:xfrm>
            <a:off x="3883659" y="1981200"/>
            <a:ext cx="2936241"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19" name="Text Placeholder 3"/>
          <p:cNvSpPr>
            <a:spLocks noGrp="1"/>
          </p:cNvSpPr>
          <p:nvPr>
            <p:ph type="body" sz="half" idx="16"/>
          </p:nvPr>
        </p:nvSpPr>
        <p:spPr>
          <a:xfrm>
            <a:off x="3873106" y="266700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14" name="Text Placeholder 4"/>
          <p:cNvSpPr>
            <a:spLocks noGrp="1"/>
          </p:cNvSpPr>
          <p:nvPr>
            <p:ph type="body" sz="quarter" idx="13"/>
          </p:nvPr>
        </p:nvSpPr>
        <p:spPr>
          <a:xfrm>
            <a:off x="7124700" y="1981200"/>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20" name="Text Placeholder 3"/>
          <p:cNvSpPr>
            <a:spLocks noGrp="1"/>
          </p:cNvSpPr>
          <p:nvPr>
            <p:ph type="body" sz="half" idx="17"/>
          </p:nvPr>
        </p:nvSpPr>
        <p:spPr>
          <a:xfrm>
            <a:off x="7124700" y="266700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cxnSp>
        <p:nvCxnSpPr>
          <p:cNvPr id="17" name="Straight Connector 16"/>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pPr>
              <a:defRPr/>
            </a:pPr>
            <a:fld id="{379A1E97-5157-48FF-96E0-C6EAC38FFEDA}" type="datetimeFigureOut">
              <a:rPr lang="ru-RU" smtClean="0"/>
              <a:pPr>
                <a:defRPr/>
              </a:pPr>
              <a:t>16.12.2021</a:t>
            </a:fld>
            <a:endParaRPr lang="ru-RU"/>
          </a:p>
        </p:txBody>
      </p:sp>
      <p:sp>
        <p:nvSpPr>
          <p:cNvPr id="4"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44824994-E753-46CF-9D03-39F7653E6D46}" type="slidenum">
              <a:rPr lang="ru-RU" smtClean="0"/>
              <a:pPr>
                <a:defRPr/>
              </a:pPr>
              <a:t>‹#›</a:t>
            </a:fld>
            <a:endParaRPr lang="ru-RU"/>
          </a:p>
        </p:txBody>
      </p:sp>
    </p:spTree>
    <p:extLst>
      <p:ext uri="{BB962C8B-B14F-4D97-AF65-F5344CB8AC3E}">
        <p14:creationId xmlns:p14="http://schemas.microsoft.com/office/powerpoint/2010/main" val="1404587211"/>
      </p:ext>
    </p:extLst>
  </p:cSld>
  <p:clrMapOvr>
    <a:masterClrMapping/>
  </p:clrMapOvr>
  <p:transition spd="med">
    <p:fade/>
  </p:transition>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Столбец с тремя рисунками">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ru-RU" smtClean="0"/>
              <a:t>Образец заголовка</a:t>
            </a:r>
            <a:endParaRPr lang="en-US" dirty="0"/>
          </a:p>
        </p:txBody>
      </p:sp>
      <p:sp>
        <p:nvSpPr>
          <p:cNvPr id="3" name="Text Placeholder 2"/>
          <p:cNvSpPr>
            <a:spLocks noGrp="1"/>
          </p:cNvSpPr>
          <p:nvPr>
            <p:ph type="body" idx="1"/>
          </p:nvPr>
        </p:nvSpPr>
        <p:spPr>
          <a:xfrm>
            <a:off x="652463" y="4250949"/>
            <a:ext cx="2940050"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29" name="Picture Placeholder 2"/>
          <p:cNvSpPr>
            <a:spLocks noGrp="1" noChangeAspect="1"/>
          </p:cNvSpPr>
          <p:nvPr>
            <p:ph type="pic" idx="15"/>
          </p:nvPr>
        </p:nvSpPr>
        <p:spPr>
          <a:xfrm>
            <a:off x="652463" y="2209800"/>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smtClean="0"/>
              <a:t>Вставка рисунка</a:t>
            </a:r>
            <a:endParaRPr lang="en-US" dirty="0"/>
          </a:p>
        </p:txBody>
      </p:sp>
      <p:sp>
        <p:nvSpPr>
          <p:cNvPr id="22" name="Text Placeholder 3"/>
          <p:cNvSpPr>
            <a:spLocks noGrp="1"/>
          </p:cNvSpPr>
          <p:nvPr>
            <p:ph type="body" sz="half" idx="18"/>
          </p:nvPr>
        </p:nvSpPr>
        <p:spPr>
          <a:xfrm>
            <a:off x="652463" y="4827211"/>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Text Placeholder 4"/>
          <p:cNvSpPr>
            <a:spLocks noGrp="1"/>
          </p:cNvSpPr>
          <p:nvPr>
            <p:ph type="body" sz="quarter" idx="3"/>
          </p:nvPr>
        </p:nvSpPr>
        <p:spPr>
          <a:xfrm>
            <a:off x="3889375" y="4250949"/>
            <a:ext cx="2930525"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30" name="Picture Placeholder 2"/>
          <p:cNvSpPr>
            <a:spLocks noGrp="1" noChangeAspect="1"/>
          </p:cNvSpPr>
          <p:nvPr>
            <p:ph type="pic" idx="21"/>
          </p:nvPr>
        </p:nvSpPr>
        <p:spPr>
          <a:xfrm>
            <a:off x="3889374" y="2209800"/>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smtClean="0"/>
              <a:t>Вставка рисунка</a:t>
            </a:r>
            <a:endParaRPr lang="en-US" dirty="0"/>
          </a:p>
        </p:txBody>
      </p:sp>
      <p:sp>
        <p:nvSpPr>
          <p:cNvPr id="23" name="Text Placeholder 3"/>
          <p:cNvSpPr>
            <a:spLocks noGrp="1"/>
          </p:cNvSpPr>
          <p:nvPr>
            <p:ph type="body" sz="half" idx="19"/>
          </p:nvPr>
        </p:nvSpPr>
        <p:spPr>
          <a:xfrm>
            <a:off x="3888022" y="4827210"/>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14" name="Text Placeholder 4"/>
          <p:cNvSpPr>
            <a:spLocks noGrp="1"/>
          </p:cNvSpPr>
          <p:nvPr>
            <p:ph type="body" sz="quarter" idx="13"/>
          </p:nvPr>
        </p:nvSpPr>
        <p:spPr>
          <a:xfrm>
            <a:off x="7124700" y="4250949"/>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31" name="Picture Placeholder 2"/>
          <p:cNvSpPr>
            <a:spLocks noGrp="1" noChangeAspect="1"/>
          </p:cNvSpPr>
          <p:nvPr>
            <p:ph type="pic" idx="22"/>
          </p:nvPr>
        </p:nvSpPr>
        <p:spPr>
          <a:xfrm>
            <a:off x="7124699" y="2209800"/>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smtClean="0"/>
              <a:t>Вставка рисунка</a:t>
            </a:r>
            <a:endParaRPr lang="en-US" dirty="0"/>
          </a:p>
        </p:txBody>
      </p:sp>
      <p:sp>
        <p:nvSpPr>
          <p:cNvPr id="24" name="Text Placeholder 3"/>
          <p:cNvSpPr>
            <a:spLocks noGrp="1"/>
          </p:cNvSpPr>
          <p:nvPr>
            <p:ph type="body" sz="half" idx="20"/>
          </p:nvPr>
        </p:nvSpPr>
        <p:spPr>
          <a:xfrm>
            <a:off x="7124575" y="4827208"/>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cxnSp>
        <p:nvCxnSpPr>
          <p:cNvPr id="19" name="Straight Connector 18"/>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pPr>
              <a:defRPr/>
            </a:pPr>
            <a:fld id="{A2333CEB-A115-4838-B477-151BC93F374A}" type="datetimeFigureOut">
              <a:rPr lang="ru-RU" smtClean="0"/>
              <a:pPr>
                <a:defRPr/>
              </a:pPr>
              <a:t>16.12.2021</a:t>
            </a:fld>
            <a:endParaRPr lang="ru-RU"/>
          </a:p>
        </p:txBody>
      </p:sp>
      <p:sp>
        <p:nvSpPr>
          <p:cNvPr id="4"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91D809BA-4EBA-4E18-9103-1D79A0D986B6}" type="slidenum">
              <a:rPr lang="ru-RU" smtClean="0"/>
              <a:pPr>
                <a:defRPr/>
              </a:pPr>
              <a:t>‹#›</a:t>
            </a:fld>
            <a:endParaRPr lang="ru-RU"/>
          </a:p>
        </p:txBody>
      </p:sp>
    </p:spTree>
    <p:extLst>
      <p:ext uri="{BB962C8B-B14F-4D97-AF65-F5344CB8AC3E}">
        <p14:creationId xmlns:p14="http://schemas.microsoft.com/office/powerpoint/2010/main" val="147465536"/>
      </p:ext>
    </p:extLst>
  </p:cSld>
  <p:clrMapOvr>
    <a:masterClrMapping/>
  </p:clrMapOvr>
  <p:transition spd="med">
    <p:fade/>
  </p:transition>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Vertical Text Placeholder 2"/>
          <p:cNvSpPr>
            <a:spLocks noGrp="1"/>
          </p:cNvSpPr>
          <p:nvPr>
            <p:ph type="body" orient="vert" idx="1"/>
          </p:nvPr>
        </p:nvSpPr>
        <p:spPr/>
        <p:txBody>
          <a:bodyPr vert="eaVert" anchor="t" anchorCtr="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pPr>
              <a:defRPr/>
            </a:pPr>
            <a:fld id="{426C2A07-02F3-4AE9-A48D-E003496EF877}"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F36913EB-CE95-4A8E-8862-18162F7ADFFD}" type="slidenum">
              <a:rPr lang="ru-RU" smtClean="0"/>
              <a:pPr>
                <a:defRPr/>
              </a:pPr>
              <a:t>‹#›</a:t>
            </a:fld>
            <a:endParaRPr lang="ru-RU"/>
          </a:p>
        </p:txBody>
      </p:sp>
    </p:spTree>
    <p:extLst>
      <p:ext uri="{BB962C8B-B14F-4D97-AF65-F5344CB8AC3E}">
        <p14:creationId xmlns:p14="http://schemas.microsoft.com/office/powerpoint/2010/main" val="2797710315"/>
      </p:ext>
    </p:extLst>
  </p:cSld>
  <p:clrMapOvr>
    <a:masterClrMapping/>
  </p:clrMapOvr>
  <p:transition spd="med">
    <p:fade/>
  </p:transition>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4212" y="430213"/>
            <a:ext cx="1752601" cy="5826125"/>
          </a:xfrm>
        </p:spPr>
        <p:txBody>
          <a:bodyPr vert="eaVert" anchor="b" anchorCtr="0"/>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652463" y="887414"/>
            <a:ext cx="7423149" cy="5368924"/>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pPr>
              <a:defRPr/>
            </a:pPr>
            <a:fld id="{71E082ED-7D99-4B26-9791-40F16F2AB51D}"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4D79F019-88A1-4AEF-A588-A96D95805C0C}" type="slidenum">
              <a:rPr lang="ru-RU" smtClean="0"/>
              <a:pPr>
                <a:defRPr/>
              </a:pPr>
              <a:t>‹#›</a:t>
            </a:fld>
            <a:endParaRPr lang="ru-RU"/>
          </a:p>
        </p:txBody>
      </p:sp>
    </p:spTree>
    <p:extLst>
      <p:ext uri="{BB962C8B-B14F-4D97-AF65-F5344CB8AC3E}">
        <p14:creationId xmlns:p14="http://schemas.microsoft.com/office/powerpoint/2010/main" val="770366401"/>
      </p:ext>
    </p:extLst>
  </p:cSld>
  <p:clrMapOvr>
    <a:masterClrMapping/>
  </p:clrMapOvr>
  <p:transition spd="med">
    <p:fade/>
  </p:transition>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ru-RU" smtClean="0"/>
              <a:t>Образец заголовка</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pPr>
              <a:defRPr/>
            </a:pPr>
            <a:fld id="{49B16CB4-AF84-4F43-8FF3-A725206B8691}"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5A5D8577-3BB0-4266-AEC1-F728FD07895E}" type="slidenum">
              <a:rPr lang="ru-RU" smtClean="0"/>
              <a:pPr>
                <a:defRPr/>
              </a:pPr>
              <a:t>‹#›</a:t>
            </a:fld>
            <a:endParaRPr lang="ru-RU"/>
          </a:p>
        </p:txBody>
      </p:sp>
    </p:spTree>
    <p:extLst>
      <p:ext uri="{BB962C8B-B14F-4D97-AF65-F5344CB8AC3E}">
        <p14:creationId xmlns:p14="http://schemas.microsoft.com/office/powerpoint/2010/main" val="3487727137"/>
      </p:ext>
    </p:extLst>
  </p:cSld>
  <p:clrMapOvr>
    <a:masterClrMapping/>
  </p:clrMapOvr>
  <p:transition spd="med">
    <p:fade/>
  </p:transition>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3"/>
          <p:cNvSpPr>
            <a:spLocks noGrp="1"/>
          </p:cNvSpPr>
          <p:nvPr>
            <p:ph type="dt" sz="half" idx="10"/>
          </p:nvPr>
        </p:nvSpPr>
        <p:spPr/>
        <p:txBody>
          <a:bodyPr/>
          <a:lstStyle/>
          <a:p>
            <a:pPr>
              <a:defRPr/>
            </a:pPr>
            <a:fld id="{945CB954-8816-44F0-A0C0-023F4004933C}"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4B92624D-76FA-4C54-86A4-CA4F9F07212F}" type="slidenum">
              <a:rPr lang="ru-RU" smtClean="0"/>
              <a:pPr>
                <a:defRPr/>
              </a:pPr>
              <a:t>‹#›</a:t>
            </a:fld>
            <a:endParaRPr lang="ru-RU"/>
          </a:p>
        </p:txBody>
      </p:sp>
    </p:spTree>
    <p:extLst>
      <p:ext uri="{BB962C8B-B14F-4D97-AF65-F5344CB8AC3E}">
        <p14:creationId xmlns:p14="http://schemas.microsoft.com/office/powerpoint/2010/main" val="3772097990"/>
      </p:ext>
    </p:extLst>
  </p:cSld>
  <p:clrMapOvr>
    <a:masterClrMapping/>
  </p:clrMapOvr>
  <p:transition spd="med">
    <p:fade/>
  </p:transition>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1154956" y="2861733"/>
            <a:ext cx="8825657" cy="1915647"/>
          </a:xfrm>
        </p:spPr>
        <p:txBody>
          <a:bodyPr anchor="b"/>
          <a:lstStyle>
            <a:lvl1pPr algn="l">
              <a:defRPr sz="4000" b="0" cap="none"/>
            </a:lvl1pPr>
          </a:lstStyle>
          <a:p>
            <a:r>
              <a:rPr lang="ru-RU" smtClean="0"/>
              <a:t>Образец заголовка</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all">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pPr>
              <a:defRPr/>
            </a:pPr>
            <a:fld id="{EDB3C887-B2CA-4DF2-8AB4-EE9A138C6530}"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6942CD04-D2C0-4F6B-817D-460F862EFD84}" type="slidenum">
              <a:rPr lang="ru-RU" smtClean="0"/>
              <a:pPr>
                <a:defRPr/>
              </a:pPr>
              <a:t>‹#›</a:t>
            </a:fld>
            <a:endParaRPr lang="ru-RU"/>
          </a:p>
        </p:txBody>
      </p:sp>
    </p:spTree>
    <p:extLst>
      <p:ext uri="{BB962C8B-B14F-4D97-AF65-F5344CB8AC3E}">
        <p14:creationId xmlns:p14="http://schemas.microsoft.com/office/powerpoint/2010/main" val="496761152"/>
      </p:ext>
    </p:extLst>
  </p:cSld>
  <p:clrMapOvr>
    <a:masterClrMapping/>
  </p:clrMapOvr>
  <p:transition spd="med">
    <p:fade/>
  </p:transition>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pPr>
              <a:defRPr/>
            </a:pPr>
            <a:fld id="{F068F5A4-044F-40CC-BE8C-750D6619D280}" type="datetimeFigureOut">
              <a:rPr lang="ru-RU" smtClean="0"/>
              <a:pPr>
                <a:defRPr/>
              </a:pPr>
              <a:t>16.12.2021</a:t>
            </a:fld>
            <a:endParaRPr lang="ru-RU"/>
          </a:p>
        </p:txBody>
      </p:sp>
      <p:sp>
        <p:nvSpPr>
          <p:cNvPr id="6" name="Footer Placeholder 5"/>
          <p:cNvSpPr>
            <a:spLocks noGrp="1"/>
          </p:cNvSpPr>
          <p:nvPr>
            <p:ph type="ftr" sz="quarter" idx="11"/>
          </p:nvPr>
        </p:nvSpPr>
        <p:spPr/>
        <p:txBody>
          <a:bodyPr/>
          <a:lstStyle/>
          <a:p>
            <a:pPr>
              <a:defRPr/>
            </a:pPr>
            <a:endParaRPr lang="ru-RU"/>
          </a:p>
        </p:txBody>
      </p:sp>
      <p:sp>
        <p:nvSpPr>
          <p:cNvPr id="7" name="Slide Number Placeholder 6"/>
          <p:cNvSpPr>
            <a:spLocks noGrp="1"/>
          </p:cNvSpPr>
          <p:nvPr>
            <p:ph type="sldNum" sz="quarter" idx="12"/>
          </p:nvPr>
        </p:nvSpPr>
        <p:spPr/>
        <p:txBody>
          <a:bodyPr/>
          <a:lstStyle/>
          <a:p>
            <a:pPr>
              <a:defRPr/>
            </a:pPr>
            <a:fld id="{CF838E3A-B5BD-4A58-A1C7-FF009D1BA934}" type="slidenum">
              <a:rPr lang="ru-RU" smtClean="0"/>
              <a:pPr>
                <a:defRPr/>
              </a:pPr>
              <a:t>‹#›</a:t>
            </a:fld>
            <a:endParaRPr lang="ru-RU"/>
          </a:p>
        </p:txBody>
      </p:sp>
    </p:spTree>
    <p:extLst>
      <p:ext uri="{BB962C8B-B14F-4D97-AF65-F5344CB8AC3E}">
        <p14:creationId xmlns:p14="http://schemas.microsoft.com/office/powerpoint/2010/main" val="3428245391"/>
      </p:ext>
    </p:extLst>
  </p:cSld>
  <p:clrMapOvr>
    <a:masterClrMapping/>
  </p:clrMapOvr>
  <p:transition spd="med">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410DF9CE-97BB-4F8B-852B-05D7900DC292}" type="slidenum">
              <a:rPr lang="ru-RU"/>
              <a:pPr>
                <a:defRPr/>
              </a:pPr>
              <a:t>‹#›</a:t>
            </a:fld>
            <a:endParaRPr lang="ru-RU"/>
          </a:p>
        </p:txBody>
      </p:sp>
    </p:spTree>
    <p:extLst>
      <p:ext uri="{BB962C8B-B14F-4D97-AF65-F5344CB8AC3E}">
        <p14:creationId xmlns:p14="http://schemas.microsoft.com/office/powerpoint/2010/main" val="2015421438"/>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ru-RU" smtClean="0"/>
              <a:t>Образец заголовка</a:t>
            </a:r>
            <a:endParaRPr lang="en-US" dirty="0"/>
          </a:p>
        </p:txBody>
      </p:sp>
      <p:sp>
        <p:nvSpPr>
          <p:cNvPr id="3" name="Text Placeholder 2"/>
          <p:cNvSpPr>
            <a:spLocks noGrp="1"/>
          </p:cNvSpPr>
          <p:nvPr>
            <p:ph type="body" idx="1"/>
          </p:nvPr>
        </p:nvSpPr>
        <p:spPr>
          <a:xfrm>
            <a:off x="1103313" y="1905000"/>
            <a:ext cx="4396338"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103312"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5654495" y="1905000"/>
            <a:ext cx="4396339"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Content Placeholder 5"/>
          <p:cNvSpPr>
            <a:spLocks noGrp="1"/>
          </p:cNvSpPr>
          <p:nvPr>
            <p:ph sz="quarter" idx="4"/>
          </p:nvPr>
        </p:nvSpPr>
        <p:spPr>
          <a:xfrm>
            <a:off x="5654495"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pPr>
              <a:defRPr/>
            </a:pPr>
            <a:fld id="{1DE37C28-AD72-4FBD-82FC-58DF65285E17}" type="datetimeFigureOut">
              <a:rPr lang="ru-RU" smtClean="0"/>
              <a:pPr>
                <a:defRPr/>
              </a:pPr>
              <a:t>16.12.2021</a:t>
            </a:fld>
            <a:endParaRPr lang="ru-RU"/>
          </a:p>
        </p:txBody>
      </p:sp>
      <p:sp>
        <p:nvSpPr>
          <p:cNvPr id="8" name="Footer Placeholder 7"/>
          <p:cNvSpPr>
            <a:spLocks noGrp="1"/>
          </p:cNvSpPr>
          <p:nvPr>
            <p:ph type="ftr" sz="quarter" idx="11"/>
          </p:nvPr>
        </p:nvSpPr>
        <p:spPr/>
        <p:txBody>
          <a:bodyPr/>
          <a:lstStyle/>
          <a:p>
            <a:pPr>
              <a:defRPr/>
            </a:pPr>
            <a:endParaRPr lang="ru-RU"/>
          </a:p>
        </p:txBody>
      </p:sp>
      <p:sp>
        <p:nvSpPr>
          <p:cNvPr id="9" name="Slide Number Placeholder 8"/>
          <p:cNvSpPr>
            <a:spLocks noGrp="1"/>
          </p:cNvSpPr>
          <p:nvPr>
            <p:ph type="sldNum" sz="quarter" idx="12"/>
          </p:nvPr>
        </p:nvSpPr>
        <p:spPr/>
        <p:txBody>
          <a:bodyPr/>
          <a:lstStyle/>
          <a:p>
            <a:pPr>
              <a:defRPr/>
            </a:pPr>
            <a:fld id="{6220DED7-ECC3-43A1-919F-29A01123BE52}" type="slidenum">
              <a:rPr lang="ru-RU" smtClean="0"/>
              <a:pPr>
                <a:defRPr/>
              </a:pPr>
              <a:t>‹#›</a:t>
            </a:fld>
            <a:endParaRPr lang="ru-RU"/>
          </a:p>
        </p:txBody>
      </p:sp>
    </p:spTree>
    <p:extLst>
      <p:ext uri="{BB962C8B-B14F-4D97-AF65-F5344CB8AC3E}">
        <p14:creationId xmlns:p14="http://schemas.microsoft.com/office/powerpoint/2010/main" val="1860608355"/>
      </p:ext>
    </p:extLst>
  </p:cSld>
  <p:clrMapOvr>
    <a:masterClrMapping/>
  </p:clrMapOvr>
  <p:transition spd="med">
    <p:fade/>
  </p:transition>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7" name="Date Placeholder 2"/>
          <p:cNvSpPr>
            <a:spLocks noGrp="1"/>
          </p:cNvSpPr>
          <p:nvPr>
            <p:ph type="dt" sz="half" idx="10"/>
          </p:nvPr>
        </p:nvSpPr>
        <p:spPr/>
        <p:txBody>
          <a:bodyPr/>
          <a:lstStyle/>
          <a:p>
            <a:pPr>
              <a:defRPr/>
            </a:pPr>
            <a:fld id="{472E4787-3C52-48E7-AEB7-754008F90399}" type="datetimeFigureOut">
              <a:rPr lang="ru-RU" smtClean="0"/>
              <a:pPr>
                <a:defRPr/>
              </a:pPr>
              <a:t>16.12.2021</a:t>
            </a:fld>
            <a:endParaRPr lang="ru-RU"/>
          </a:p>
        </p:txBody>
      </p:sp>
      <p:sp>
        <p:nvSpPr>
          <p:cNvPr id="5" name="Footer Placeholder 3"/>
          <p:cNvSpPr>
            <a:spLocks noGrp="1"/>
          </p:cNvSpPr>
          <p:nvPr>
            <p:ph type="ftr" sz="quarter" idx="11"/>
          </p:nvPr>
        </p:nvSpPr>
        <p:spPr/>
        <p:txBody>
          <a:bodyPr/>
          <a:lstStyle/>
          <a:p>
            <a:pPr>
              <a:defRPr/>
            </a:pPr>
            <a:endParaRPr lang="ru-RU"/>
          </a:p>
        </p:txBody>
      </p:sp>
      <p:sp>
        <p:nvSpPr>
          <p:cNvPr id="6" name="Slide Number Placeholder 4"/>
          <p:cNvSpPr>
            <a:spLocks noGrp="1"/>
          </p:cNvSpPr>
          <p:nvPr>
            <p:ph type="sldNum" sz="quarter" idx="12"/>
          </p:nvPr>
        </p:nvSpPr>
        <p:spPr/>
        <p:txBody>
          <a:bodyPr/>
          <a:lstStyle/>
          <a:p>
            <a:pPr>
              <a:defRPr/>
            </a:pPr>
            <a:fld id="{410A318F-D6F8-42D9-A658-8502F0498F55}" type="slidenum">
              <a:rPr lang="ru-RU" smtClean="0"/>
              <a:pPr>
                <a:defRPr/>
              </a:pPr>
              <a:t>‹#›</a:t>
            </a:fld>
            <a:endParaRPr lang="ru-RU"/>
          </a:p>
        </p:txBody>
      </p:sp>
    </p:spTree>
    <p:extLst>
      <p:ext uri="{BB962C8B-B14F-4D97-AF65-F5344CB8AC3E}">
        <p14:creationId xmlns:p14="http://schemas.microsoft.com/office/powerpoint/2010/main" val="2397799299"/>
      </p:ext>
    </p:extLst>
  </p:cSld>
  <p:clrMapOvr>
    <a:masterClrMapping/>
  </p:clrMapOvr>
  <p:transition spd="med">
    <p:fade/>
  </p:transition>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pPr>
              <a:defRPr/>
            </a:pPr>
            <a:fld id="{5A9C7E7F-DE6E-424C-8972-E1A260D55B68}" type="datetimeFigureOut">
              <a:rPr lang="ru-RU" smtClean="0"/>
              <a:pPr>
                <a:defRPr/>
              </a:pPr>
              <a:t>16.12.2021</a:t>
            </a:fld>
            <a:endParaRPr lang="ru-RU"/>
          </a:p>
        </p:txBody>
      </p:sp>
      <p:sp>
        <p:nvSpPr>
          <p:cNvPr id="5" name="Footer Placeholder 2"/>
          <p:cNvSpPr>
            <a:spLocks noGrp="1"/>
          </p:cNvSpPr>
          <p:nvPr>
            <p:ph type="ftr" sz="quarter" idx="11"/>
          </p:nvPr>
        </p:nvSpPr>
        <p:spPr/>
        <p:txBody>
          <a:bodyPr/>
          <a:lstStyle/>
          <a:p>
            <a:pPr>
              <a:defRPr/>
            </a:pPr>
            <a:endParaRPr lang="ru-RU"/>
          </a:p>
        </p:txBody>
      </p:sp>
      <p:sp>
        <p:nvSpPr>
          <p:cNvPr id="6" name="Slide Number Placeholder 3"/>
          <p:cNvSpPr>
            <a:spLocks noGrp="1"/>
          </p:cNvSpPr>
          <p:nvPr>
            <p:ph type="sldNum" sz="quarter" idx="12"/>
          </p:nvPr>
        </p:nvSpPr>
        <p:spPr/>
        <p:txBody>
          <a:bodyPr/>
          <a:lstStyle/>
          <a:p>
            <a:pPr>
              <a:defRPr/>
            </a:pPr>
            <a:fld id="{9A6BC4D4-E281-4748-80ED-5E067DD93986}" type="slidenum">
              <a:rPr lang="ru-RU" smtClean="0"/>
              <a:pPr>
                <a:defRPr/>
              </a:pPr>
              <a:t>‹#›</a:t>
            </a:fld>
            <a:endParaRPr lang="ru-RU"/>
          </a:p>
        </p:txBody>
      </p:sp>
    </p:spTree>
    <p:extLst>
      <p:ext uri="{BB962C8B-B14F-4D97-AF65-F5344CB8AC3E}">
        <p14:creationId xmlns:p14="http://schemas.microsoft.com/office/powerpoint/2010/main" val="3231301254"/>
      </p:ext>
    </p:extLst>
  </p:cSld>
  <p:clrMapOvr>
    <a:masterClrMapping/>
  </p:clrMapOvr>
  <p:transition spd="med">
    <p:fade/>
  </p:transition>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154953" y="1447800"/>
            <a:ext cx="3401064" cy="1447800"/>
          </a:xfrm>
        </p:spPr>
        <p:txBody>
          <a:bodyPr anchor="b"/>
          <a:lstStyle>
            <a:lvl1pPr algn="l">
              <a:defRPr sz="2400" b="0"/>
            </a:lvl1pPr>
          </a:lstStyle>
          <a:p>
            <a:r>
              <a:rPr lang="ru-RU" smtClean="0"/>
              <a:t>Образец заголовка</a:t>
            </a:r>
            <a:endParaRPr lang="en-US" dirty="0"/>
          </a:p>
        </p:txBody>
      </p:sp>
      <p:sp>
        <p:nvSpPr>
          <p:cNvPr id="3" name="Content Placeholder 2"/>
          <p:cNvSpPr>
            <a:spLocks noGrp="1"/>
          </p:cNvSpPr>
          <p:nvPr>
            <p:ph idx="1"/>
          </p:nvPr>
        </p:nvSpPr>
        <p:spPr>
          <a:xfrm>
            <a:off x="4784616" y="1447800"/>
            <a:ext cx="5195997"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154953" y="3129280"/>
            <a:ext cx="3401063"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7" name="Date Placeholder 4"/>
          <p:cNvSpPr>
            <a:spLocks noGrp="1"/>
          </p:cNvSpPr>
          <p:nvPr>
            <p:ph type="dt" sz="half" idx="10"/>
          </p:nvPr>
        </p:nvSpPr>
        <p:spPr/>
        <p:txBody>
          <a:bodyPr/>
          <a:lstStyle/>
          <a:p>
            <a:pPr>
              <a:defRPr/>
            </a:pPr>
            <a:fld id="{4745C96F-0F52-4142-B303-0A541CEDC74E}" type="datetimeFigureOut">
              <a:rPr lang="ru-RU" smtClean="0"/>
              <a:pPr>
                <a:defRPr/>
              </a:pPr>
              <a:t>16.12.2021</a:t>
            </a:fld>
            <a:endParaRPr lang="ru-RU"/>
          </a:p>
        </p:txBody>
      </p:sp>
      <p:sp>
        <p:nvSpPr>
          <p:cNvPr id="5" name="Footer Placeholder 5"/>
          <p:cNvSpPr>
            <a:spLocks noGrp="1"/>
          </p:cNvSpPr>
          <p:nvPr>
            <p:ph type="ftr" sz="quarter" idx="11"/>
          </p:nvPr>
        </p:nvSpPr>
        <p:spPr/>
        <p:txBody>
          <a:bodyPr/>
          <a:lstStyle/>
          <a:p>
            <a:pPr>
              <a:defRPr/>
            </a:pPr>
            <a:endParaRPr lang="ru-RU"/>
          </a:p>
        </p:txBody>
      </p:sp>
      <p:sp>
        <p:nvSpPr>
          <p:cNvPr id="6" name="Slide Number Placeholder 6"/>
          <p:cNvSpPr>
            <a:spLocks noGrp="1"/>
          </p:cNvSpPr>
          <p:nvPr>
            <p:ph type="sldNum" sz="quarter" idx="12"/>
          </p:nvPr>
        </p:nvSpPr>
        <p:spPr/>
        <p:txBody>
          <a:bodyPr/>
          <a:lstStyle/>
          <a:p>
            <a:pPr>
              <a:defRPr/>
            </a:pPr>
            <a:fld id="{AA4B6428-0061-476D-B708-1B29D906AABD}" type="slidenum">
              <a:rPr lang="ru-RU" smtClean="0"/>
              <a:pPr>
                <a:defRPr/>
              </a:pPr>
              <a:t>‹#›</a:t>
            </a:fld>
            <a:endParaRPr lang="ru-RU"/>
          </a:p>
        </p:txBody>
      </p:sp>
    </p:spTree>
    <p:extLst>
      <p:ext uri="{BB962C8B-B14F-4D97-AF65-F5344CB8AC3E}">
        <p14:creationId xmlns:p14="http://schemas.microsoft.com/office/powerpoint/2010/main" val="1052956179"/>
      </p:ext>
    </p:extLst>
  </p:cSld>
  <p:clrMapOvr>
    <a:masterClrMapping/>
  </p:clrMapOvr>
  <p:transition spd="med">
    <p:fade/>
  </p:transition>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153907" y="1854192"/>
            <a:ext cx="5092906" cy="1574808"/>
          </a:xfrm>
        </p:spPr>
        <p:txBody>
          <a:bodyPr anchor="b">
            <a:normAutofit/>
          </a:bodyPr>
          <a:lstStyle>
            <a:lvl1pPr algn="l">
              <a:defRPr sz="3600" b="0"/>
            </a:lvl1pPr>
          </a:lstStyle>
          <a:p>
            <a:r>
              <a:rPr lang="ru-RU" smtClean="0"/>
              <a:t>Образец заголовка</a:t>
            </a:r>
            <a:endParaRPr lang="en-US" dirty="0"/>
          </a:p>
        </p:txBody>
      </p:sp>
      <p:sp>
        <p:nvSpPr>
          <p:cNvPr id="3" name="Picture Placeholder 2"/>
          <p:cNvSpPr>
            <a:spLocks noGrp="1" noChangeAspect="1"/>
          </p:cNvSpPr>
          <p:nvPr>
            <p:ph type="pic" idx="1"/>
          </p:nvPr>
        </p:nvSpPr>
        <p:spPr>
          <a:xfrm>
            <a:off x="6949546" y="1143000"/>
            <a:ext cx="3200400"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smtClean="0"/>
              <a:t>Вставка рисунка</a:t>
            </a:r>
            <a:endParaRPr lang="en-US" dirty="0"/>
          </a:p>
        </p:txBody>
      </p:sp>
      <p:sp>
        <p:nvSpPr>
          <p:cNvPr id="4" name="Text Placeholder 3"/>
          <p:cNvSpPr>
            <a:spLocks noGrp="1"/>
          </p:cNvSpPr>
          <p:nvPr>
            <p:ph type="body" sz="half" idx="2"/>
          </p:nvPr>
        </p:nvSpPr>
        <p:spPr>
          <a:xfrm>
            <a:off x="1154954" y="3657600"/>
            <a:ext cx="5084979"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pPr>
              <a:defRPr/>
            </a:pPr>
            <a:fld id="{6578B400-4A8E-42E9-BD42-9D03461076EB}" type="datetimeFigureOut">
              <a:rPr lang="ru-RU" smtClean="0"/>
              <a:pPr>
                <a:defRPr/>
              </a:pPr>
              <a:t>16.12.2021</a:t>
            </a:fld>
            <a:endParaRPr lang="ru-RU"/>
          </a:p>
        </p:txBody>
      </p:sp>
      <p:sp>
        <p:nvSpPr>
          <p:cNvPr id="6" name="Footer Placeholder 5"/>
          <p:cNvSpPr>
            <a:spLocks noGrp="1"/>
          </p:cNvSpPr>
          <p:nvPr>
            <p:ph type="ftr" sz="quarter" idx="11"/>
          </p:nvPr>
        </p:nvSpPr>
        <p:spPr/>
        <p:txBody>
          <a:bodyPr/>
          <a:lstStyle/>
          <a:p>
            <a:pPr>
              <a:defRPr/>
            </a:pPr>
            <a:endParaRPr lang="ru-RU"/>
          </a:p>
        </p:txBody>
      </p:sp>
      <p:sp>
        <p:nvSpPr>
          <p:cNvPr id="7" name="Slide Number Placeholder 6"/>
          <p:cNvSpPr>
            <a:spLocks noGrp="1"/>
          </p:cNvSpPr>
          <p:nvPr>
            <p:ph type="sldNum" sz="quarter" idx="12"/>
          </p:nvPr>
        </p:nvSpPr>
        <p:spPr/>
        <p:txBody>
          <a:bodyPr/>
          <a:lstStyle/>
          <a:p>
            <a:pPr>
              <a:defRPr/>
            </a:pPr>
            <a:fld id="{6B133D6C-FE04-433C-8BB3-46A911FFC6DF}" type="slidenum">
              <a:rPr lang="ru-RU" smtClean="0"/>
              <a:pPr>
                <a:defRPr/>
              </a:pPr>
              <a:t>‹#›</a:t>
            </a:fld>
            <a:endParaRPr lang="ru-RU"/>
          </a:p>
        </p:txBody>
      </p:sp>
    </p:spTree>
    <p:extLst>
      <p:ext uri="{BB962C8B-B14F-4D97-AF65-F5344CB8AC3E}">
        <p14:creationId xmlns:p14="http://schemas.microsoft.com/office/powerpoint/2010/main" val="379992574"/>
      </p:ext>
    </p:extLst>
  </p:cSld>
  <p:clrMapOvr>
    <a:masterClrMapping/>
  </p:clrMapOvr>
  <p:transition spd="med">
    <p:fade/>
  </p:transition>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Панорамная фотография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154956" y="4800587"/>
            <a:ext cx="8825657" cy="566738"/>
          </a:xfrm>
        </p:spPr>
        <p:txBody>
          <a:bodyPr anchor="b">
            <a:normAutofit/>
          </a:bodyPr>
          <a:lstStyle>
            <a:lvl1pPr algn="l">
              <a:defRPr sz="2400" b="0"/>
            </a:lvl1pPr>
          </a:lstStyle>
          <a:p>
            <a:r>
              <a:rPr lang="ru-RU" smtClean="0"/>
              <a:t>Образец заголовка</a:t>
            </a:r>
            <a:endParaRPr lang="en-US" dirty="0"/>
          </a:p>
        </p:txBody>
      </p:sp>
      <p:sp>
        <p:nvSpPr>
          <p:cNvPr id="3" name="Picture Placeholder 2"/>
          <p:cNvSpPr>
            <a:spLocks noGrp="1" noChangeAspect="1"/>
          </p:cNvSpPr>
          <p:nvPr>
            <p:ph type="pic" idx="1"/>
          </p:nvPr>
        </p:nvSpPr>
        <p:spPr>
          <a:xfrm>
            <a:off x="1154955" y="685800"/>
            <a:ext cx="882565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smtClean="0"/>
              <a:t>Вставка рисунка</a:t>
            </a:r>
            <a:endParaRPr lang="en-US" dirty="0"/>
          </a:p>
        </p:txBody>
      </p:sp>
      <p:sp>
        <p:nvSpPr>
          <p:cNvPr id="4" name="Text Placeholder 3"/>
          <p:cNvSpPr>
            <a:spLocks noGrp="1"/>
          </p:cNvSpPr>
          <p:nvPr>
            <p:ph type="body" sz="half" idx="2"/>
          </p:nvPr>
        </p:nvSpPr>
        <p:spPr>
          <a:xfrm>
            <a:off x="1154956" y="5367325"/>
            <a:ext cx="882565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pPr>
              <a:defRPr/>
            </a:pPr>
            <a:fld id="{AB812DE6-B7CA-4661-944B-CF190A6B8B1E}" type="datetimeFigureOut">
              <a:rPr lang="ru-RU" smtClean="0"/>
              <a:pPr>
                <a:defRPr/>
              </a:pPr>
              <a:t>16.12.2021</a:t>
            </a:fld>
            <a:endParaRPr lang="ru-RU"/>
          </a:p>
        </p:txBody>
      </p:sp>
      <p:sp>
        <p:nvSpPr>
          <p:cNvPr id="6" name="Footer Placeholder 5"/>
          <p:cNvSpPr>
            <a:spLocks noGrp="1"/>
          </p:cNvSpPr>
          <p:nvPr>
            <p:ph type="ftr" sz="quarter" idx="11"/>
          </p:nvPr>
        </p:nvSpPr>
        <p:spPr/>
        <p:txBody>
          <a:bodyPr/>
          <a:lstStyle/>
          <a:p>
            <a:pPr>
              <a:defRPr/>
            </a:pPr>
            <a:endParaRPr lang="ru-RU"/>
          </a:p>
        </p:txBody>
      </p:sp>
      <p:sp>
        <p:nvSpPr>
          <p:cNvPr id="7" name="Slide Number Placeholder 6"/>
          <p:cNvSpPr>
            <a:spLocks noGrp="1"/>
          </p:cNvSpPr>
          <p:nvPr>
            <p:ph type="sldNum" sz="quarter" idx="12"/>
          </p:nvPr>
        </p:nvSpPr>
        <p:spPr/>
        <p:txBody>
          <a:bodyPr/>
          <a:lstStyle/>
          <a:p>
            <a:pPr>
              <a:defRPr/>
            </a:pPr>
            <a:fld id="{50984DAB-4916-49FC-840B-59196A425235}" type="slidenum">
              <a:rPr lang="ru-RU" smtClean="0"/>
              <a:pPr>
                <a:defRPr/>
              </a:pPr>
              <a:t>‹#›</a:t>
            </a:fld>
            <a:endParaRPr lang="ru-RU"/>
          </a:p>
        </p:txBody>
      </p:sp>
    </p:spTree>
    <p:extLst>
      <p:ext uri="{BB962C8B-B14F-4D97-AF65-F5344CB8AC3E}">
        <p14:creationId xmlns:p14="http://schemas.microsoft.com/office/powerpoint/2010/main" val="2388024745"/>
      </p:ext>
    </p:extLst>
  </p:cSld>
  <p:clrMapOvr>
    <a:masterClrMapping/>
  </p:clrMapOvr>
  <p:transition spd="med">
    <p:fade/>
  </p:transition>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Заголовок и подпись">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8825659" cy="1981200"/>
          </a:xfrm>
        </p:spPr>
        <p:txBody>
          <a:bodyPr/>
          <a:lstStyle>
            <a:lvl1pPr>
              <a:defRPr sz="4800"/>
            </a:lvl1pPr>
          </a:lstStyle>
          <a:p>
            <a:r>
              <a:rPr lang="ru-RU" smtClean="0"/>
              <a:t>Образец заголовка</a:t>
            </a:r>
            <a:endParaRPr lang="en-US" dirty="0"/>
          </a:p>
        </p:txBody>
      </p:sp>
      <p:sp>
        <p:nvSpPr>
          <p:cNvPr id="8" name="Text Placeholder 3"/>
          <p:cNvSpPr>
            <a:spLocks noGrp="1"/>
          </p:cNvSpPr>
          <p:nvPr>
            <p:ph type="body" sz="half" idx="2"/>
          </p:nvPr>
        </p:nvSpPr>
        <p:spPr>
          <a:xfrm>
            <a:off x="1154954" y="3657600"/>
            <a:ext cx="8825659"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4" name="Date Placeholder 3"/>
          <p:cNvSpPr>
            <a:spLocks noGrp="1"/>
          </p:cNvSpPr>
          <p:nvPr>
            <p:ph type="dt" sz="half" idx="10"/>
          </p:nvPr>
        </p:nvSpPr>
        <p:spPr/>
        <p:txBody>
          <a:bodyPr/>
          <a:lstStyle/>
          <a:p>
            <a:pPr>
              <a:defRPr/>
            </a:pPr>
            <a:fld id="{74704AB2-95A1-4A95-8EC0-6EAEB855B86C}"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E6CE9353-6619-4079-A70D-67486CBE9B21}" type="slidenum">
              <a:rPr lang="ru-RU" smtClean="0"/>
              <a:pPr>
                <a:defRPr/>
              </a:pPr>
              <a:t>‹#›</a:t>
            </a:fld>
            <a:endParaRPr lang="ru-RU"/>
          </a:p>
        </p:txBody>
      </p:sp>
    </p:spTree>
    <p:extLst>
      <p:ext uri="{BB962C8B-B14F-4D97-AF65-F5344CB8AC3E}">
        <p14:creationId xmlns:p14="http://schemas.microsoft.com/office/powerpoint/2010/main" val="2328541335"/>
      </p:ext>
    </p:extLst>
  </p:cSld>
  <p:clrMapOvr>
    <a:masterClrMapping/>
  </p:clrMapOvr>
  <p:transition spd="med">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Цитата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574801" y="1447800"/>
            <a:ext cx="7999315" cy="2323374"/>
          </a:xfrm>
        </p:spPr>
        <p:txBody>
          <a:bodyPr/>
          <a:lstStyle>
            <a:lvl1pPr>
              <a:defRPr sz="4800"/>
            </a:lvl1pPr>
          </a:lstStyle>
          <a:p>
            <a:r>
              <a:rPr lang="ru-RU" smtClean="0"/>
              <a:t>Образец заголовка</a:t>
            </a:r>
            <a:endParaRPr lang="en-US" dirty="0"/>
          </a:p>
        </p:txBody>
      </p:sp>
      <p:sp>
        <p:nvSpPr>
          <p:cNvPr id="11" name="Text Placeholder 3"/>
          <p:cNvSpPr>
            <a:spLocks noGrp="1"/>
          </p:cNvSpPr>
          <p:nvPr>
            <p:ph type="body" sz="half" idx="14"/>
          </p:nvPr>
        </p:nvSpPr>
        <p:spPr>
          <a:xfrm>
            <a:off x="1930400" y="3771174"/>
            <a:ext cx="7279649" cy="342174"/>
          </a:xfrm>
        </p:spPr>
        <p:txBody>
          <a:bodyPr vert="horz" lIns="91440" tIns="45720" rIns="91440" bIns="45720" rtlCol="0" anchor="t">
            <a:normAutofit/>
          </a:bodyPr>
          <a:lstStyle>
            <a:lvl1pPr marL="0" indent="0">
              <a:buNone/>
              <a:defRPr lang="en-US" sz="1400" b="0" i="0" kern="1200" cap="small" dirty="0">
                <a:solidFill>
                  <a:schemeClr val="bg2">
                    <a:lumMod val="40000"/>
                    <a:lumOff val="60000"/>
                  </a:schemeClr>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buNone/>
            </a:pPr>
            <a:r>
              <a:rPr lang="ru-RU" smtClean="0"/>
              <a:t>Образец текста</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4" name="Date Placeholder 3"/>
          <p:cNvSpPr>
            <a:spLocks noGrp="1"/>
          </p:cNvSpPr>
          <p:nvPr>
            <p:ph type="dt" sz="half" idx="10"/>
          </p:nvPr>
        </p:nvSpPr>
        <p:spPr/>
        <p:txBody>
          <a:bodyPr/>
          <a:lstStyle/>
          <a:p>
            <a:pPr>
              <a:defRPr/>
            </a:pPr>
            <a:fld id="{1BF7A4DF-355E-4D37-8AE4-66BBE7980DE6}"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07832D78-4323-4C0D-8DCC-C4094D34F605}" type="slidenum">
              <a:rPr lang="ru-RU" smtClean="0"/>
              <a:pPr>
                <a:defRPr/>
              </a:pPr>
              <a:t>‹#›</a:t>
            </a:fld>
            <a:endParaRPr lang="ru-RU"/>
          </a:p>
        </p:txBody>
      </p:sp>
      <p:sp>
        <p:nvSpPr>
          <p:cNvPr id="12" name="TextBox 11"/>
          <p:cNvSpPr txBox="1"/>
          <p:nvPr/>
        </p:nvSpPr>
        <p:spPr>
          <a:xfrm>
            <a:off x="898295" y="971253"/>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
        <p:nvSpPr>
          <p:cNvPr id="15" name="TextBox 14"/>
          <p:cNvSpPr txBox="1"/>
          <p:nvPr/>
        </p:nvSpPr>
        <p:spPr>
          <a:xfrm>
            <a:off x="9330490" y="2613787"/>
            <a:ext cx="801912" cy="1969770"/>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dirty="0"/>
              <a:t>”</a:t>
            </a:r>
          </a:p>
        </p:txBody>
      </p:sp>
    </p:spTree>
    <p:extLst>
      <p:ext uri="{BB962C8B-B14F-4D97-AF65-F5344CB8AC3E}">
        <p14:creationId xmlns:p14="http://schemas.microsoft.com/office/powerpoint/2010/main" val="1949778863"/>
      </p:ext>
    </p:extLst>
  </p:cSld>
  <p:clrMapOvr>
    <a:masterClrMapping/>
  </p:clrMapOvr>
  <p:transition spd="med">
    <p:fade/>
  </p:transition>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Карточка имени">
    <p:spTree>
      <p:nvGrpSpPr>
        <p:cNvPr id="1" name=""/>
        <p:cNvGrpSpPr/>
        <p:nvPr/>
      </p:nvGrpSpPr>
      <p:grpSpPr>
        <a:xfrm>
          <a:off x="0" y="0"/>
          <a:ext cx="0" cy="0"/>
          <a:chOff x="0" y="0"/>
          <a:chExt cx="0" cy="0"/>
        </a:xfrm>
      </p:grpSpPr>
      <p:sp>
        <p:nvSpPr>
          <p:cNvPr id="2" name="Title 1"/>
          <p:cNvSpPr>
            <a:spLocks noGrp="1"/>
          </p:cNvSpPr>
          <p:nvPr>
            <p:ph type="title"/>
          </p:nvPr>
        </p:nvSpPr>
        <p:spPr>
          <a:xfrm>
            <a:off x="1154954" y="3124201"/>
            <a:ext cx="8825660" cy="1653180"/>
          </a:xfrm>
        </p:spPr>
        <p:txBody>
          <a:bodyPr anchor="b"/>
          <a:lstStyle>
            <a:lvl1pPr algn="l">
              <a:defRPr sz="4000" b="0" cap="none"/>
            </a:lvl1pPr>
          </a:lstStyle>
          <a:p>
            <a:r>
              <a:rPr lang="ru-RU" smtClean="0"/>
              <a:t>Образец заголовка</a:t>
            </a:r>
            <a:endParaRPr lang="en-US" dirty="0"/>
          </a:p>
        </p:txBody>
      </p:sp>
      <p:sp>
        <p:nvSpPr>
          <p:cNvPr id="3" name="Text Placeholder 2"/>
          <p:cNvSpPr>
            <a:spLocks noGrp="1"/>
          </p:cNvSpPr>
          <p:nvPr>
            <p:ph type="body" idx="1"/>
          </p:nvPr>
        </p:nvSpPr>
        <p:spPr>
          <a:xfrm>
            <a:off x="1154954" y="4777381"/>
            <a:ext cx="8825659" cy="860400"/>
          </a:xfrm>
        </p:spPr>
        <p:txBody>
          <a:bodyPr anchor="t"/>
          <a:lstStyle>
            <a:lvl1pPr marL="0" indent="0" algn="l">
              <a:buNone/>
              <a:defRPr sz="2000" cap="none">
                <a:solidFill>
                  <a:schemeClr val="bg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pPr>
              <a:defRPr/>
            </a:pPr>
            <a:fld id="{0C8185CD-F91E-4CAD-8E87-1BFD1B21B4D0}"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C26748B4-DC07-46E2-B053-B6022E7693A7}" type="slidenum">
              <a:rPr lang="ru-RU" smtClean="0"/>
              <a:pPr>
                <a:defRPr/>
              </a:pPr>
              <a:t>‹#›</a:t>
            </a:fld>
            <a:endParaRPr lang="ru-RU"/>
          </a:p>
        </p:txBody>
      </p:sp>
    </p:spTree>
    <p:extLst>
      <p:ext uri="{BB962C8B-B14F-4D97-AF65-F5344CB8AC3E}">
        <p14:creationId xmlns:p14="http://schemas.microsoft.com/office/powerpoint/2010/main" val="1519875964"/>
      </p:ext>
    </p:extLst>
  </p:cSld>
  <p:clrMapOvr>
    <a:masterClrMapping/>
  </p:clrMapOvr>
  <p:transition spd="med">
    <p:fade/>
  </p:transition>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Три колонки">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ru-RU" smtClean="0"/>
              <a:t>Образец заголовка</a:t>
            </a:r>
            <a:endParaRPr lang="en-US" dirty="0"/>
          </a:p>
        </p:txBody>
      </p:sp>
      <p:sp>
        <p:nvSpPr>
          <p:cNvPr id="3" name="Text Placeholder 2"/>
          <p:cNvSpPr>
            <a:spLocks noGrp="1"/>
          </p:cNvSpPr>
          <p:nvPr>
            <p:ph type="body" idx="1"/>
          </p:nvPr>
        </p:nvSpPr>
        <p:spPr>
          <a:xfrm>
            <a:off x="632947" y="1981200"/>
            <a:ext cx="2946866"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16" name="Text Placeholder 3"/>
          <p:cNvSpPr>
            <a:spLocks noGrp="1"/>
          </p:cNvSpPr>
          <p:nvPr>
            <p:ph type="body" sz="half" idx="15"/>
          </p:nvPr>
        </p:nvSpPr>
        <p:spPr>
          <a:xfrm>
            <a:off x="652463" y="266700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Text Placeholder 4"/>
          <p:cNvSpPr>
            <a:spLocks noGrp="1"/>
          </p:cNvSpPr>
          <p:nvPr>
            <p:ph type="body" sz="quarter" idx="3"/>
          </p:nvPr>
        </p:nvSpPr>
        <p:spPr>
          <a:xfrm>
            <a:off x="3883659" y="1981200"/>
            <a:ext cx="2936241"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19" name="Text Placeholder 3"/>
          <p:cNvSpPr>
            <a:spLocks noGrp="1"/>
          </p:cNvSpPr>
          <p:nvPr>
            <p:ph type="body" sz="half" idx="16"/>
          </p:nvPr>
        </p:nvSpPr>
        <p:spPr>
          <a:xfrm>
            <a:off x="3873106" y="266700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14" name="Text Placeholder 4"/>
          <p:cNvSpPr>
            <a:spLocks noGrp="1"/>
          </p:cNvSpPr>
          <p:nvPr>
            <p:ph type="body" sz="quarter" idx="13"/>
          </p:nvPr>
        </p:nvSpPr>
        <p:spPr>
          <a:xfrm>
            <a:off x="7124700" y="1981200"/>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20" name="Text Placeholder 3"/>
          <p:cNvSpPr>
            <a:spLocks noGrp="1"/>
          </p:cNvSpPr>
          <p:nvPr>
            <p:ph type="body" sz="half" idx="17"/>
          </p:nvPr>
        </p:nvSpPr>
        <p:spPr>
          <a:xfrm>
            <a:off x="7124700" y="266700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cxnSp>
        <p:nvCxnSpPr>
          <p:cNvPr id="17" name="Straight Connector 16"/>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pPr>
              <a:defRPr/>
            </a:pPr>
            <a:fld id="{21263E74-755E-441F-8401-24B61C643D2D}" type="datetimeFigureOut">
              <a:rPr lang="ru-RU" smtClean="0"/>
              <a:pPr>
                <a:defRPr/>
              </a:pPr>
              <a:t>16.12.2021</a:t>
            </a:fld>
            <a:endParaRPr lang="ru-RU"/>
          </a:p>
        </p:txBody>
      </p:sp>
      <p:sp>
        <p:nvSpPr>
          <p:cNvPr id="4"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C080B1F6-27D2-4DA2-AF86-EC6F3A14A10D}" type="slidenum">
              <a:rPr lang="ru-RU" smtClean="0"/>
              <a:pPr>
                <a:defRPr/>
              </a:pPr>
              <a:t>‹#›</a:t>
            </a:fld>
            <a:endParaRPr lang="ru-RU"/>
          </a:p>
        </p:txBody>
      </p:sp>
    </p:spTree>
    <p:extLst>
      <p:ext uri="{BB962C8B-B14F-4D97-AF65-F5344CB8AC3E}">
        <p14:creationId xmlns:p14="http://schemas.microsoft.com/office/powerpoint/2010/main" val="2877114252"/>
      </p:ext>
    </p:extLst>
  </p:cSld>
  <p:clrMapOvr>
    <a:masterClrMapping/>
  </p:clrMapOvr>
  <p:transition spd="med">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577F5074-9001-4AF1-A1D2-C823C60BBE33}" type="slidenum">
              <a:rPr lang="ru-RU"/>
              <a:pPr>
                <a:defRPr/>
              </a:pPr>
              <a:t>‹#›</a:t>
            </a:fld>
            <a:endParaRPr lang="ru-RU"/>
          </a:p>
        </p:txBody>
      </p:sp>
    </p:spTree>
    <p:extLst>
      <p:ext uri="{BB962C8B-B14F-4D97-AF65-F5344CB8AC3E}">
        <p14:creationId xmlns:p14="http://schemas.microsoft.com/office/powerpoint/2010/main" val="8622701"/>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Столбец с тремя рисунками">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ru-RU" smtClean="0"/>
              <a:t>Образец заголовка</a:t>
            </a:r>
            <a:endParaRPr lang="en-US" dirty="0"/>
          </a:p>
        </p:txBody>
      </p:sp>
      <p:sp>
        <p:nvSpPr>
          <p:cNvPr id="3" name="Text Placeholder 2"/>
          <p:cNvSpPr>
            <a:spLocks noGrp="1"/>
          </p:cNvSpPr>
          <p:nvPr>
            <p:ph type="body" idx="1"/>
          </p:nvPr>
        </p:nvSpPr>
        <p:spPr>
          <a:xfrm>
            <a:off x="652463" y="4250949"/>
            <a:ext cx="2940050"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29" name="Picture Placeholder 2"/>
          <p:cNvSpPr>
            <a:spLocks noGrp="1" noChangeAspect="1"/>
          </p:cNvSpPr>
          <p:nvPr>
            <p:ph type="pic" idx="15"/>
          </p:nvPr>
        </p:nvSpPr>
        <p:spPr>
          <a:xfrm>
            <a:off x="652463" y="2209800"/>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smtClean="0"/>
              <a:t>Вставка рисунка</a:t>
            </a:r>
            <a:endParaRPr lang="en-US" dirty="0"/>
          </a:p>
        </p:txBody>
      </p:sp>
      <p:sp>
        <p:nvSpPr>
          <p:cNvPr id="22" name="Text Placeholder 3"/>
          <p:cNvSpPr>
            <a:spLocks noGrp="1"/>
          </p:cNvSpPr>
          <p:nvPr>
            <p:ph type="body" sz="half" idx="18"/>
          </p:nvPr>
        </p:nvSpPr>
        <p:spPr>
          <a:xfrm>
            <a:off x="652463" y="4827211"/>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Text Placeholder 4"/>
          <p:cNvSpPr>
            <a:spLocks noGrp="1"/>
          </p:cNvSpPr>
          <p:nvPr>
            <p:ph type="body" sz="quarter" idx="3"/>
          </p:nvPr>
        </p:nvSpPr>
        <p:spPr>
          <a:xfrm>
            <a:off x="3889375" y="4250949"/>
            <a:ext cx="2930525"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30" name="Picture Placeholder 2"/>
          <p:cNvSpPr>
            <a:spLocks noGrp="1" noChangeAspect="1"/>
          </p:cNvSpPr>
          <p:nvPr>
            <p:ph type="pic" idx="21"/>
          </p:nvPr>
        </p:nvSpPr>
        <p:spPr>
          <a:xfrm>
            <a:off x="3889374" y="2209800"/>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smtClean="0"/>
              <a:t>Вставка рисунка</a:t>
            </a:r>
            <a:endParaRPr lang="en-US" dirty="0"/>
          </a:p>
        </p:txBody>
      </p:sp>
      <p:sp>
        <p:nvSpPr>
          <p:cNvPr id="23" name="Text Placeholder 3"/>
          <p:cNvSpPr>
            <a:spLocks noGrp="1"/>
          </p:cNvSpPr>
          <p:nvPr>
            <p:ph type="body" sz="half" idx="19"/>
          </p:nvPr>
        </p:nvSpPr>
        <p:spPr>
          <a:xfrm>
            <a:off x="3888022" y="4827210"/>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14" name="Text Placeholder 4"/>
          <p:cNvSpPr>
            <a:spLocks noGrp="1"/>
          </p:cNvSpPr>
          <p:nvPr>
            <p:ph type="body" sz="quarter" idx="13"/>
          </p:nvPr>
        </p:nvSpPr>
        <p:spPr>
          <a:xfrm>
            <a:off x="7124700" y="4250949"/>
            <a:ext cx="2932113" cy="576262"/>
          </a:xfrm>
        </p:spPr>
        <p:txBody>
          <a:bodyPr anchor="b">
            <a:noAutofit/>
          </a:bodyPr>
          <a:lstStyle>
            <a:lvl1pPr marL="0" indent="0">
              <a:buNone/>
              <a:defRPr sz="2400" b="0">
                <a:solidFill>
                  <a:schemeClr val="bg2">
                    <a:lumMod val="40000"/>
                    <a:lumOff val="6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31" name="Picture Placeholder 2"/>
          <p:cNvSpPr>
            <a:spLocks noGrp="1" noChangeAspect="1"/>
          </p:cNvSpPr>
          <p:nvPr>
            <p:ph type="pic" idx="22"/>
          </p:nvPr>
        </p:nvSpPr>
        <p:spPr>
          <a:xfrm>
            <a:off x="7124699" y="2209800"/>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smtClean="0"/>
              <a:t>Вставка рисунка</a:t>
            </a:r>
            <a:endParaRPr lang="en-US" dirty="0"/>
          </a:p>
        </p:txBody>
      </p:sp>
      <p:sp>
        <p:nvSpPr>
          <p:cNvPr id="24" name="Text Placeholder 3"/>
          <p:cNvSpPr>
            <a:spLocks noGrp="1"/>
          </p:cNvSpPr>
          <p:nvPr>
            <p:ph type="body" sz="half" idx="20"/>
          </p:nvPr>
        </p:nvSpPr>
        <p:spPr>
          <a:xfrm>
            <a:off x="7124575" y="4827208"/>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cxnSp>
        <p:nvCxnSpPr>
          <p:cNvPr id="19" name="Straight Connector 18"/>
          <p:cNvCxnSpPr/>
          <p:nvPr/>
        </p:nvCxnSpPr>
        <p:spPr>
          <a:xfrm>
            <a:off x="3726142" y="2133600"/>
            <a:ext cx="0" cy="39624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6962227" y="2133600"/>
            <a:ext cx="0" cy="396688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pPr>
              <a:defRPr/>
            </a:pPr>
            <a:fld id="{DA9B0053-F65F-45CE-B526-98152E08DC98}" type="datetimeFigureOut">
              <a:rPr lang="ru-RU" smtClean="0"/>
              <a:pPr>
                <a:defRPr/>
              </a:pPr>
              <a:t>16.12.2021</a:t>
            </a:fld>
            <a:endParaRPr lang="ru-RU"/>
          </a:p>
        </p:txBody>
      </p:sp>
      <p:sp>
        <p:nvSpPr>
          <p:cNvPr id="4"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054AFC32-5C06-48A6-AF6E-C471E5205374}" type="slidenum">
              <a:rPr lang="ru-RU" smtClean="0"/>
              <a:pPr>
                <a:defRPr/>
              </a:pPr>
              <a:t>‹#›</a:t>
            </a:fld>
            <a:endParaRPr lang="ru-RU"/>
          </a:p>
        </p:txBody>
      </p:sp>
    </p:spTree>
    <p:extLst>
      <p:ext uri="{BB962C8B-B14F-4D97-AF65-F5344CB8AC3E}">
        <p14:creationId xmlns:p14="http://schemas.microsoft.com/office/powerpoint/2010/main" val="934002617"/>
      </p:ext>
    </p:extLst>
  </p:cSld>
  <p:clrMapOvr>
    <a:masterClrMapping/>
  </p:clrMapOvr>
  <p:transition spd="med">
    <p:fade/>
  </p:transition>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Vertical Text Placeholder 2"/>
          <p:cNvSpPr>
            <a:spLocks noGrp="1"/>
          </p:cNvSpPr>
          <p:nvPr>
            <p:ph type="body" orient="vert" idx="1"/>
          </p:nvPr>
        </p:nvSpPr>
        <p:spPr/>
        <p:txBody>
          <a:bodyPr vert="eaVert" anchor="t" anchorCtr="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pPr>
              <a:defRPr/>
            </a:pPr>
            <a:fld id="{52B6F85F-C980-49A9-B006-DE2B9B528905}"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A753076C-D873-4AE5-861A-07748AF267DA}" type="slidenum">
              <a:rPr lang="ru-RU" smtClean="0"/>
              <a:pPr>
                <a:defRPr/>
              </a:pPr>
              <a:t>‹#›</a:t>
            </a:fld>
            <a:endParaRPr lang="ru-RU"/>
          </a:p>
        </p:txBody>
      </p:sp>
    </p:spTree>
    <p:extLst>
      <p:ext uri="{BB962C8B-B14F-4D97-AF65-F5344CB8AC3E}">
        <p14:creationId xmlns:p14="http://schemas.microsoft.com/office/powerpoint/2010/main" val="210544517"/>
      </p:ext>
    </p:extLst>
  </p:cSld>
  <p:clrMapOvr>
    <a:masterClrMapping/>
  </p:clrMapOvr>
  <p:transition spd="med">
    <p:fade/>
  </p:transition>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4212" y="430213"/>
            <a:ext cx="1752601" cy="5826125"/>
          </a:xfrm>
        </p:spPr>
        <p:txBody>
          <a:bodyPr vert="eaVert" anchor="b" anchorCtr="0"/>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652463" y="887414"/>
            <a:ext cx="7423149" cy="5368924"/>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pPr>
              <a:defRPr/>
            </a:pPr>
            <a:fld id="{020B7E7C-38E7-40CF-892E-710DACD959CF}" type="datetimeFigureOut">
              <a:rPr lang="ru-RU" smtClean="0"/>
              <a:pPr>
                <a:defRPr/>
              </a:pPr>
              <a:t>16.12.2021</a:t>
            </a:fld>
            <a:endParaRPr lang="ru-RU"/>
          </a:p>
        </p:txBody>
      </p:sp>
      <p:sp>
        <p:nvSpPr>
          <p:cNvPr id="5" name="Footer Placeholder 4"/>
          <p:cNvSpPr>
            <a:spLocks noGrp="1"/>
          </p:cNvSpPr>
          <p:nvPr>
            <p:ph type="ftr" sz="quarter" idx="11"/>
          </p:nvPr>
        </p:nvSpPr>
        <p:spPr/>
        <p:txBody>
          <a:bodyPr/>
          <a:lstStyle/>
          <a:p>
            <a:pPr>
              <a:defRPr/>
            </a:pPr>
            <a:endParaRPr lang="ru-RU"/>
          </a:p>
        </p:txBody>
      </p:sp>
      <p:sp>
        <p:nvSpPr>
          <p:cNvPr id="6" name="Slide Number Placeholder 5"/>
          <p:cNvSpPr>
            <a:spLocks noGrp="1"/>
          </p:cNvSpPr>
          <p:nvPr>
            <p:ph type="sldNum" sz="quarter" idx="12"/>
          </p:nvPr>
        </p:nvSpPr>
        <p:spPr/>
        <p:txBody>
          <a:bodyPr/>
          <a:lstStyle/>
          <a:p>
            <a:pPr>
              <a:defRPr/>
            </a:pPr>
            <a:fld id="{C08C0E34-5562-4305-9880-34A4A3E259F1}" type="slidenum">
              <a:rPr lang="ru-RU" smtClean="0"/>
              <a:pPr>
                <a:defRPr/>
              </a:pPr>
              <a:t>‹#›</a:t>
            </a:fld>
            <a:endParaRPr lang="ru-RU"/>
          </a:p>
        </p:txBody>
      </p:sp>
    </p:spTree>
    <p:extLst>
      <p:ext uri="{BB962C8B-B14F-4D97-AF65-F5344CB8AC3E}">
        <p14:creationId xmlns:p14="http://schemas.microsoft.com/office/powerpoint/2010/main" val="647538965"/>
      </p:ext>
    </p:extLst>
  </p:cSld>
  <p:clrMapOvr>
    <a:masterClrMapping/>
  </p:clrMapOvr>
  <p:transition spd="med">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29FCE830-8F0A-4E8B-AE6D-B7AF3416D500}" type="slidenum">
              <a:rPr lang="ru-RU"/>
              <a:pPr>
                <a:defRPr/>
              </a:pPr>
              <a:t>‹#›</a:t>
            </a:fld>
            <a:endParaRPr lang="ru-RU"/>
          </a:p>
        </p:txBody>
      </p:sp>
    </p:spTree>
    <p:extLst>
      <p:ext uri="{BB962C8B-B14F-4D97-AF65-F5344CB8AC3E}">
        <p14:creationId xmlns:p14="http://schemas.microsoft.com/office/powerpoint/2010/main" val="30487951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DED13B5A-5CEA-4CBC-B634-7EFC2CB60B91}" type="slidenum">
              <a:rPr lang="ru-RU"/>
              <a:pPr>
                <a:defRPr/>
              </a:pPr>
              <a:t>‹#›</a:t>
            </a:fld>
            <a:endParaRPr lang="ru-RU"/>
          </a:p>
        </p:txBody>
      </p:sp>
    </p:spTree>
    <p:extLst>
      <p:ext uri="{BB962C8B-B14F-4D97-AF65-F5344CB8AC3E}">
        <p14:creationId xmlns:p14="http://schemas.microsoft.com/office/powerpoint/2010/main" val="33970715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3EDE3E9C-A636-4BAB-BF43-29FE67BCE9CF}" type="slidenum">
              <a:rPr lang="ru-RU"/>
              <a:pPr>
                <a:defRPr/>
              </a:pPr>
              <a:t>‹#›</a:t>
            </a:fld>
            <a:endParaRPr lang="ru-RU"/>
          </a:p>
        </p:txBody>
      </p:sp>
    </p:spTree>
    <p:extLst>
      <p:ext uri="{BB962C8B-B14F-4D97-AF65-F5344CB8AC3E}">
        <p14:creationId xmlns:p14="http://schemas.microsoft.com/office/powerpoint/2010/main" val="27266457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3D1F56EB-A527-4798-AE28-369E067C5B41}" type="slidenum">
              <a:rPr lang="ru-RU"/>
              <a:pPr>
                <a:defRPr/>
              </a:pPr>
              <a:t>‹#›</a:t>
            </a:fld>
            <a:endParaRPr lang="ru-RU"/>
          </a:p>
        </p:txBody>
      </p:sp>
    </p:spTree>
    <p:extLst>
      <p:ext uri="{BB962C8B-B14F-4D97-AF65-F5344CB8AC3E}">
        <p14:creationId xmlns:p14="http://schemas.microsoft.com/office/powerpoint/2010/main" val="33345130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047A21D9-0731-4130-B5C4-03802452246B}" type="slidenum">
              <a:rPr lang="ru-RU"/>
              <a:pPr>
                <a:defRPr/>
              </a:pPr>
              <a:t>‹#›</a:t>
            </a:fld>
            <a:endParaRPr lang="ru-RU"/>
          </a:p>
        </p:txBody>
      </p:sp>
    </p:spTree>
    <p:extLst>
      <p:ext uri="{BB962C8B-B14F-4D97-AF65-F5344CB8AC3E}">
        <p14:creationId xmlns:p14="http://schemas.microsoft.com/office/powerpoint/2010/main" val="34593961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099CADFE-3961-48E0-B9AA-D5F40280697A}" type="slidenum">
              <a:rPr lang="ru-RU"/>
              <a:pPr>
                <a:defRPr/>
              </a:pPr>
              <a:t>‹#›</a:t>
            </a:fld>
            <a:endParaRPr lang="ru-RU"/>
          </a:p>
        </p:txBody>
      </p:sp>
    </p:spTree>
    <p:extLst>
      <p:ext uri="{BB962C8B-B14F-4D97-AF65-F5344CB8AC3E}">
        <p14:creationId xmlns:p14="http://schemas.microsoft.com/office/powerpoint/2010/main" val="13133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B4C71EC6-210F-42DE-9C53-41977AD35B3D}" type="datetimeFigureOut">
              <a:rPr lang="ru-RU" smtClean="0"/>
              <a:t>16.12.2021</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p>
        </p:txBody>
      </p:sp>
      <p:sp>
        <p:nvSpPr>
          <p:cNvPr id="7" name="Rectangle 5"/>
          <p:cNvSpPr>
            <a:spLocks noGrp="1" noChangeArrowheads="1"/>
          </p:cNvSpPr>
          <p:nvPr>
            <p:ph type="ftr" sz="quarter" idx="11"/>
          </p:nvPr>
        </p:nvSpPr>
        <p:spPr>
          <a:ln/>
        </p:spPr>
        <p:txBody>
          <a:bodyPr/>
          <a:lstStyle>
            <a:lvl1pPr>
              <a:defRPr/>
            </a:lvl1pPr>
          </a:lstStyle>
          <a:p>
            <a:pPr>
              <a:defRPr/>
            </a:pPr>
            <a:endParaRPr lang="ru-RU"/>
          </a:p>
        </p:txBody>
      </p:sp>
      <p:sp>
        <p:nvSpPr>
          <p:cNvPr id="8" name="Rectangle 6"/>
          <p:cNvSpPr>
            <a:spLocks noGrp="1" noChangeArrowheads="1"/>
          </p:cNvSpPr>
          <p:nvPr>
            <p:ph type="sldNum" sz="quarter" idx="12"/>
          </p:nvPr>
        </p:nvSpPr>
        <p:spPr>
          <a:ln/>
        </p:spPr>
        <p:txBody>
          <a:bodyPr/>
          <a:lstStyle>
            <a:lvl1pPr>
              <a:defRPr/>
            </a:lvl1pPr>
          </a:lstStyle>
          <a:p>
            <a:pPr>
              <a:defRPr/>
            </a:pPr>
            <a:fld id="{2F5AF75B-C029-4905-8B22-56AD8CC31BDA}" type="slidenum">
              <a:rPr lang="ru-RU"/>
              <a:pPr>
                <a:defRPr/>
              </a:pPr>
              <a:t>‹#›</a:t>
            </a:fld>
            <a:endParaRPr lang="ru-RU"/>
          </a:p>
        </p:txBody>
      </p:sp>
    </p:spTree>
    <p:extLst>
      <p:ext uri="{BB962C8B-B14F-4D97-AF65-F5344CB8AC3E}">
        <p14:creationId xmlns:p14="http://schemas.microsoft.com/office/powerpoint/2010/main" val="2459368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3DCDF03E-9FFF-4B75-8E74-CFCEC6E69EDB}" type="slidenum">
              <a:rPr lang="ru-RU"/>
              <a:pPr>
                <a:defRPr/>
              </a:pPr>
              <a:t>‹#›</a:t>
            </a:fld>
            <a:endParaRPr lang="ru-RU"/>
          </a:p>
        </p:txBody>
      </p:sp>
    </p:spTree>
    <p:extLst>
      <p:ext uri="{BB962C8B-B14F-4D97-AF65-F5344CB8AC3E}">
        <p14:creationId xmlns:p14="http://schemas.microsoft.com/office/powerpoint/2010/main" val="26564454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9F37C946-3C50-4A18-9441-067A2B41DBF6}" type="slidenum">
              <a:rPr lang="ru-RU"/>
              <a:pPr>
                <a:defRPr/>
              </a:pPr>
              <a:t>‹#›</a:t>
            </a:fld>
            <a:endParaRPr lang="ru-RU"/>
          </a:p>
        </p:txBody>
      </p:sp>
    </p:spTree>
    <p:extLst>
      <p:ext uri="{BB962C8B-B14F-4D97-AF65-F5344CB8AC3E}">
        <p14:creationId xmlns:p14="http://schemas.microsoft.com/office/powerpoint/2010/main" val="8729131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p>
        </p:txBody>
      </p:sp>
      <p:sp>
        <p:nvSpPr>
          <p:cNvPr id="7" name="Rectangle 5"/>
          <p:cNvSpPr>
            <a:spLocks noGrp="1" noChangeArrowheads="1"/>
          </p:cNvSpPr>
          <p:nvPr>
            <p:ph type="ftr" sz="quarter" idx="11"/>
          </p:nvPr>
        </p:nvSpPr>
        <p:spPr>
          <a:ln/>
        </p:spPr>
        <p:txBody>
          <a:bodyPr/>
          <a:lstStyle>
            <a:lvl1pPr>
              <a:defRPr/>
            </a:lvl1pPr>
          </a:lstStyle>
          <a:p>
            <a:pPr>
              <a:defRPr/>
            </a:pPr>
            <a:endParaRPr lang="ru-RU"/>
          </a:p>
        </p:txBody>
      </p:sp>
      <p:sp>
        <p:nvSpPr>
          <p:cNvPr id="8" name="Rectangle 6"/>
          <p:cNvSpPr>
            <a:spLocks noGrp="1" noChangeArrowheads="1"/>
          </p:cNvSpPr>
          <p:nvPr>
            <p:ph type="sldNum" sz="quarter" idx="12"/>
          </p:nvPr>
        </p:nvSpPr>
        <p:spPr>
          <a:ln/>
        </p:spPr>
        <p:txBody>
          <a:bodyPr/>
          <a:lstStyle>
            <a:lvl1pPr>
              <a:defRPr/>
            </a:lvl1pPr>
          </a:lstStyle>
          <a:p>
            <a:pPr>
              <a:defRPr/>
            </a:pPr>
            <a:fld id="{CA781012-403A-421B-A1C1-E1865D1F52DE}" type="slidenum">
              <a:rPr lang="ru-RU"/>
              <a:pPr>
                <a:defRPr/>
              </a:pPr>
              <a:t>‹#›</a:t>
            </a:fld>
            <a:endParaRPr lang="ru-RU"/>
          </a:p>
        </p:txBody>
      </p:sp>
    </p:spTree>
    <p:extLst>
      <p:ext uri="{BB962C8B-B14F-4D97-AF65-F5344CB8AC3E}">
        <p14:creationId xmlns:p14="http://schemas.microsoft.com/office/powerpoint/2010/main" val="9322346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p>
        </p:txBody>
      </p:sp>
      <p:sp>
        <p:nvSpPr>
          <p:cNvPr id="7" name="Rectangle 5"/>
          <p:cNvSpPr>
            <a:spLocks noGrp="1" noChangeArrowheads="1"/>
          </p:cNvSpPr>
          <p:nvPr>
            <p:ph type="ftr" sz="quarter" idx="11"/>
          </p:nvPr>
        </p:nvSpPr>
        <p:spPr>
          <a:ln/>
        </p:spPr>
        <p:txBody>
          <a:bodyPr/>
          <a:lstStyle>
            <a:lvl1pPr>
              <a:defRPr/>
            </a:lvl1pPr>
          </a:lstStyle>
          <a:p>
            <a:pPr>
              <a:defRPr/>
            </a:pPr>
            <a:endParaRPr lang="ru-RU"/>
          </a:p>
        </p:txBody>
      </p:sp>
      <p:sp>
        <p:nvSpPr>
          <p:cNvPr id="8" name="Rectangle 6"/>
          <p:cNvSpPr>
            <a:spLocks noGrp="1" noChangeArrowheads="1"/>
          </p:cNvSpPr>
          <p:nvPr>
            <p:ph type="sldNum" sz="quarter" idx="12"/>
          </p:nvPr>
        </p:nvSpPr>
        <p:spPr>
          <a:ln/>
        </p:spPr>
        <p:txBody>
          <a:bodyPr/>
          <a:lstStyle>
            <a:lvl1pPr>
              <a:defRPr/>
            </a:lvl1pPr>
          </a:lstStyle>
          <a:p>
            <a:pPr>
              <a:defRPr/>
            </a:pPr>
            <a:fld id="{123AAAAC-E262-4C33-A62C-C3403327DB36}" type="slidenum">
              <a:rPr lang="ru-RU"/>
              <a:pPr>
                <a:defRPr/>
              </a:pPr>
              <a:t>‹#›</a:t>
            </a:fld>
            <a:endParaRPr lang="ru-RU"/>
          </a:p>
        </p:txBody>
      </p:sp>
    </p:spTree>
    <p:extLst>
      <p:ext uri="{BB962C8B-B14F-4D97-AF65-F5344CB8AC3E}">
        <p14:creationId xmlns:p14="http://schemas.microsoft.com/office/powerpoint/2010/main" val="2391282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A7462051-BEA2-4DCD-A606-6C16F8820E82}" type="slidenum">
              <a:rPr lang="ru-RU"/>
              <a:pPr>
                <a:defRPr/>
              </a:pPr>
              <a:t>‹#›</a:t>
            </a:fld>
            <a:endParaRPr lang="ru-RU"/>
          </a:p>
        </p:txBody>
      </p:sp>
    </p:spTree>
    <p:extLst>
      <p:ext uri="{BB962C8B-B14F-4D97-AF65-F5344CB8AC3E}">
        <p14:creationId xmlns:p14="http://schemas.microsoft.com/office/powerpoint/2010/main" val="32039315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36407095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2823640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0141035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0634473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B4C71EC6-210F-42DE-9C53-41977AD35B3D}" type="datetimeFigureOut">
              <a:rPr lang="ru-RU" smtClean="0"/>
              <a:t>16.12.2021</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8875687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6440624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9169028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38373446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9216007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23115545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3120619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8424600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5209790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609600" y="274866"/>
            <a:ext cx="109728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E083C7D-CA95-42B2-BA7F-B14135083AB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8378700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B4C71EC6-210F-42DE-9C53-41977AD35B3D}" type="datetimeFigureOut">
              <a:rPr lang="ru-RU" smtClean="0"/>
              <a:t>16.12.2021</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лип">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Клип 3"/>
          <p:cNvSpPr>
            <a:spLocks noGrp="1"/>
          </p:cNvSpPr>
          <p:nvPr>
            <p:ph type="clipArt" sz="half" idx="2"/>
          </p:nvPr>
        </p:nvSpPr>
        <p:spPr>
          <a:xfrm>
            <a:off x="6197600" y="1600206"/>
            <a:ext cx="5384800" cy="4525963"/>
          </a:xfrm>
        </p:spPr>
        <p:txBody>
          <a:bodyPr/>
          <a:lstStyle/>
          <a:p>
            <a:pPr lvl="0"/>
            <a:endParaRPr lang="ru-RU"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F0C279-1906-4D67-9750-5BEFF6B71F9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53126383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6197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D80A63D-E0B8-4BE2-8659-63D2B2AF6700}"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8302022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Диаграмма 2"/>
          <p:cNvSpPr>
            <a:spLocks noGrp="1"/>
          </p:cNvSpPr>
          <p:nvPr>
            <p:ph type="chart"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E18438A-491B-4333-875C-F5CA0D80D3C9}"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5068579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xOverObj" preserve="1">
  <p:cSld name="Заголовок и текст над объек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0"/>
            <a:ext cx="10972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C06DD29-4CC1-4B09-A24E-210ECFCA38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96751540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AndTx" preserve="1">
  <p:cSld name="Заголовок, два объекта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09600" y="3938816"/>
            <a:ext cx="5384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0DEA078-F9B1-4E70-95AA-1EB06BC76A4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6201360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OverTx" preserve="1">
  <p:cSld name="Заголовок и два объекта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quarter" idx="1"/>
          </p:nvPr>
        </p:nvSpPr>
        <p:spPr>
          <a:xfrm>
            <a:off x="609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6197600" y="1600200"/>
            <a:ext cx="53848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half" idx="3"/>
          </p:nvPr>
        </p:nvSpPr>
        <p:spPr>
          <a:xfrm>
            <a:off x="609600" y="3938816"/>
            <a:ext cx="109728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04B70C6B-EBBD-4189-950A-765FF50E0C7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042652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A1BF8BC-AD52-4796-BE72-8BCD714219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47588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65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6331CE1-A4EC-4ADE-B021-10BE58CEB476}"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4832310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543CFE-882C-4CB9-AEA0-3733DE2C406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509465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713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A7DFB3-9E2C-4F32-8E61-6A745D96184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3380287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B4C71EC6-210F-42DE-9C53-41977AD35B3D}" type="datetimeFigureOut">
              <a:rPr lang="ru-RU" smtClean="0"/>
              <a:t>16.12.2021</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6499A-5514-4822-BD63-6C0DF5FC73D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348079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52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52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3962CD4-F5B8-41D7-9B18-C414E0BCD6B8}"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41772062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F07884E-0CE2-4520-B954-85D5D75C67C7}"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39864224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C465AD8F-20E5-40AD-B172-4EBEB87EADA4}"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301691890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27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F9346F-F273-434F-B554-830EC03018D1}"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63210894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8BAF9AF-0115-4DE8-A3DA-29E8E58C5FF3}"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34271595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86AEF9-D950-46D8-A9FE-977DED142932}"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71112076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866"/>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866"/>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9FB90A1-BD8D-4494-A2D1-6216BED9BB9D}"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6894893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609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6"/>
            <a:ext cx="53848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D83BF72-31C5-4AA7-8155-A259FD2DEC6C}"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18641022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609600" y="1600206"/>
            <a:ext cx="109728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6A1F593-48FB-4CC1-9BA2-8BB04CEE3BC5}" type="slidenum">
              <a:rPr lang="ru-RU">
                <a:solidFill>
                  <a:srgbClr val="000000"/>
                </a:solidFill>
              </a:rPr>
              <a:pPr>
                <a:defRPr/>
              </a:pPr>
              <a:t>‹#›</a:t>
            </a:fld>
            <a:endParaRPr lang="ru-RU">
              <a:solidFill>
                <a:srgbClr val="000000"/>
              </a:solidFill>
            </a:endParaRPr>
          </a:p>
        </p:txBody>
      </p:sp>
    </p:spTree>
    <p:extLst>
      <p:ext uri="{BB962C8B-B14F-4D97-AF65-F5344CB8AC3E}">
        <p14:creationId xmlns:p14="http://schemas.microsoft.com/office/powerpoint/2010/main" val="22250884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 Type="http://schemas.openxmlformats.org/officeDocument/2006/relationships/slideLayout" Target="../slideLayouts/slideLayout215.xml"/><Relationship Id="rId21" Type="http://schemas.openxmlformats.org/officeDocument/2006/relationships/slideLayout" Target="../slideLayouts/slideLayout233.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slideLayout" Target="../slideLayouts/slideLayout232.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26" Type="http://schemas.openxmlformats.org/officeDocument/2006/relationships/slideLayout" Target="../slideLayouts/slideLayout259.xml"/><Relationship Id="rId39" Type="http://schemas.openxmlformats.org/officeDocument/2006/relationships/slideLayout" Target="../slideLayouts/slideLayout272.xml"/><Relationship Id="rId3" Type="http://schemas.openxmlformats.org/officeDocument/2006/relationships/slideLayout" Target="../slideLayouts/slideLayout236.xml"/><Relationship Id="rId21" Type="http://schemas.openxmlformats.org/officeDocument/2006/relationships/slideLayout" Target="../slideLayouts/slideLayout254.xml"/><Relationship Id="rId34" Type="http://schemas.openxmlformats.org/officeDocument/2006/relationships/slideLayout" Target="../slideLayouts/slideLayout267.xml"/><Relationship Id="rId42" Type="http://schemas.openxmlformats.org/officeDocument/2006/relationships/slideLayout" Target="../slideLayouts/slideLayout275.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5" Type="http://schemas.openxmlformats.org/officeDocument/2006/relationships/slideLayout" Target="../slideLayouts/slideLayout258.xml"/><Relationship Id="rId33" Type="http://schemas.openxmlformats.org/officeDocument/2006/relationships/slideLayout" Target="../slideLayouts/slideLayout266.xml"/><Relationship Id="rId38" Type="http://schemas.openxmlformats.org/officeDocument/2006/relationships/slideLayout" Target="../slideLayouts/slideLayout271.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0" Type="http://schemas.openxmlformats.org/officeDocument/2006/relationships/slideLayout" Target="../slideLayouts/slideLayout253.xml"/><Relationship Id="rId29" Type="http://schemas.openxmlformats.org/officeDocument/2006/relationships/slideLayout" Target="../slideLayouts/slideLayout262.xml"/><Relationship Id="rId41" Type="http://schemas.openxmlformats.org/officeDocument/2006/relationships/slideLayout" Target="../slideLayouts/slideLayout274.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24" Type="http://schemas.openxmlformats.org/officeDocument/2006/relationships/slideLayout" Target="../slideLayouts/slideLayout257.xml"/><Relationship Id="rId32" Type="http://schemas.openxmlformats.org/officeDocument/2006/relationships/slideLayout" Target="../slideLayouts/slideLayout265.xml"/><Relationship Id="rId37" Type="http://schemas.openxmlformats.org/officeDocument/2006/relationships/slideLayout" Target="../slideLayouts/slideLayout270.xml"/><Relationship Id="rId40" Type="http://schemas.openxmlformats.org/officeDocument/2006/relationships/slideLayout" Target="../slideLayouts/slideLayout273.xml"/><Relationship Id="rId5" Type="http://schemas.openxmlformats.org/officeDocument/2006/relationships/slideLayout" Target="../slideLayouts/slideLayout238.xml"/><Relationship Id="rId15" Type="http://schemas.openxmlformats.org/officeDocument/2006/relationships/slideLayout" Target="../slideLayouts/slideLayout248.xml"/><Relationship Id="rId23" Type="http://schemas.openxmlformats.org/officeDocument/2006/relationships/slideLayout" Target="../slideLayouts/slideLayout256.xml"/><Relationship Id="rId28" Type="http://schemas.openxmlformats.org/officeDocument/2006/relationships/slideLayout" Target="../slideLayouts/slideLayout261.xml"/><Relationship Id="rId36" Type="http://schemas.openxmlformats.org/officeDocument/2006/relationships/slideLayout" Target="../slideLayouts/slideLayout269.xml"/><Relationship Id="rId10" Type="http://schemas.openxmlformats.org/officeDocument/2006/relationships/slideLayout" Target="../slideLayouts/slideLayout243.xml"/><Relationship Id="rId19" Type="http://schemas.openxmlformats.org/officeDocument/2006/relationships/slideLayout" Target="../slideLayouts/slideLayout252.xml"/><Relationship Id="rId31" Type="http://schemas.openxmlformats.org/officeDocument/2006/relationships/slideLayout" Target="../slideLayouts/slideLayout264.xml"/><Relationship Id="rId44" Type="http://schemas.openxmlformats.org/officeDocument/2006/relationships/theme" Target="../theme/theme13.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 Id="rId22" Type="http://schemas.openxmlformats.org/officeDocument/2006/relationships/slideLayout" Target="../slideLayouts/slideLayout255.xml"/><Relationship Id="rId27" Type="http://schemas.openxmlformats.org/officeDocument/2006/relationships/slideLayout" Target="../slideLayouts/slideLayout260.xml"/><Relationship Id="rId30" Type="http://schemas.openxmlformats.org/officeDocument/2006/relationships/slideLayout" Target="../slideLayouts/slideLayout263.xml"/><Relationship Id="rId35" Type="http://schemas.openxmlformats.org/officeDocument/2006/relationships/slideLayout" Target="../slideLayouts/slideLayout268.xml"/><Relationship Id="rId43" Type="http://schemas.openxmlformats.org/officeDocument/2006/relationships/slideLayout" Target="../slideLayouts/slideLayout27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slideLayout" Target="../slideLayouts/slideLayout289.xml"/><Relationship Id="rId18" Type="http://schemas.openxmlformats.org/officeDocument/2006/relationships/slideLayout" Target="../slideLayouts/slideLayout294.xml"/><Relationship Id="rId3" Type="http://schemas.openxmlformats.org/officeDocument/2006/relationships/slideLayout" Target="../slideLayouts/slideLayout279.xml"/><Relationship Id="rId21" Type="http://schemas.openxmlformats.org/officeDocument/2006/relationships/slideLayout" Target="../slideLayouts/slideLayout297.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17" Type="http://schemas.openxmlformats.org/officeDocument/2006/relationships/slideLayout" Target="../slideLayouts/slideLayout293.xml"/><Relationship Id="rId2" Type="http://schemas.openxmlformats.org/officeDocument/2006/relationships/slideLayout" Target="../slideLayouts/slideLayout278.xml"/><Relationship Id="rId16" Type="http://schemas.openxmlformats.org/officeDocument/2006/relationships/slideLayout" Target="../slideLayouts/slideLayout292.xml"/><Relationship Id="rId20" Type="http://schemas.openxmlformats.org/officeDocument/2006/relationships/slideLayout" Target="../slideLayouts/slideLayout296.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5" Type="http://schemas.openxmlformats.org/officeDocument/2006/relationships/slideLayout" Target="../slideLayouts/slideLayout281.xml"/><Relationship Id="rId15" Type="http://schemas.openxmlformats.org/officeDocument/2006/relationships/slideLayout" Target="../slideLayouts/slideLayout291.xml"/><Relationship Id="rId10" Type="http://schemas.openxmlformats.org/officeDocument/2006/relationships/slideLayout" Target="../slideLayouts/slideLayout286.xml"/><Relationship Id="rId19" Type="http://schemas.openxmlformats.org/officeDocument/2006/relationships/slideLayout" Target="../slideLayouts/slideLayout295.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slideLayout" Target="../slideLayouts/slideLayout290.xml"/><Relationship Id="rId2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5.xml"/><Relationship Id="rId13" Type="http://schemas.openxmlformats.org/officeDocument/2006/relationships/slideLayout" Target="../slideLayouts/slideLayout310.xml"/><Relationship Id="rId18" Type="http://schemas.openxmlformats.org/officeDocument/2006/relationships/slideLayout" Target="../slideLayouts/slideLayout315.xml"/><Relationship Id="rId3" Type="http://schemas.openxmlformats.org/officeDocument/2006/relationships/slideLayout" Target="../slideLayouts/slideLayout300.xml"/><Relationship Id="rId21" Type="http://schemas.openxmlformats.org/officeDocument/2006/relationships/slideLayout" Target="../slideLayouts/slideLayout318.xml"/><Relationship Id="rId7" Type="http://schemas.openxmlformats.org/officeDocument/2006/relationships/slideLayout" Target="../slideLayouts/slideLayout304.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2" Type="http://schemas.openxmlformats.org/officeDocument/2006/relationships/slideLayout" Target="../slideLayouts/slideLayout299.xml"/><Relationship Id="rId16" Type="http://schemas.openxmlformats.org/officeDocument/2006/relationships/slideLayout" Target="../slideLayouts/slideLayout313.xml"/><Relationship Id="rId20" Type="http://schemas.openxmlformats.org/officeDocument/2006/relationships/slideLayout" Target="../slideLayouts/slideLayout317.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5" Type="http://schemas.openxmlformats.org/officeDocument/2006/relationships/slideLayout" Target="../slideLayouts/slideLayout302.xml"/><Relationship Id="rId15" Type="http://schemas.openxmlformats.org/officeDocument/2006/relationships/slideLayout" Target="../slideLayouts/slideLayout312.xml"/><Relationship Id="rId10" Type="http://schemas.openxmlformats.org/officeDocument/2006/relationships/slideLayout" Target="../slideLayouts/slideLayout307.xml"/><Relationship Id="rId19" Type="http://schemas.openxmlformats.org/officeDocument/2006/relationships/slideLayout" Target="../slideLayouts/slideLayout316.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slideLayout" Target="../slideLayouts/slideLayout311.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6.xml"/><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3" Type="http://schemas.openxmlformats.org/officeDocument/2006/relationships/slideLayout" Target="../slideLayouts/slideLayout321.xml"/><Relationship Id="rId21" Type="http://schemas.openxmlformats.org/officeDocument/2006/relationships/slideLayout" Target="../slideLayouts/slideLayout339.xml"/><Relationship Id="rId7" Type="http://schemas.openxmlformats.org/officeDocument/2006/relationships/slideLayout" Target="../slideLayouts/slideLayout325.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 Type="http://schemas.openxmlformats.org/officeDocument/2006/relationships/slideLayout" Target="../slideLayouts/slideLayout320.xml"/><Relationship Id="rId16" Type="http://schemas.openxmlformats.org/officeDocument/2006/relationships/slideLayout" Target="../slideLayouts/slideLayout334.xml"/><Relationship Id="rId20" Type="http://schemas.openxmlformats.org/officeDocument/2006/relationships/slideLayout" Target="../slideLayouts/slideLayout338.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slideLayout" Target="../slideLayouts/slideLayout329.xml"/><Relationship Id="rId5" Type="http://schemas.openxmlformats.org/officeDocument/2006/relationships/slideLayout" Target="../slideLayouts/slideLayout323.xml"/><Relationship Id="rId15" Type="http://schemas.openxmlformats.org/officeDocument/2006/relationships/slideLayout" Target="../slideLayouts/slideLayout333.xml"/><Relationship Id="rId10" Type="http://schemas.openxmlformats.org/officeDocument/2006/relationships/slideLayout" Target="../slideLayouts/slideLayout328.xml"/><Relationship Id="rId19" Type="http://schemas.openxmlformats.org/officeDocument/2006/relationships/slideLayout" Target="../slideLayouts/slideLayout337.xml"/><Relationship Id="rId4" Type="http://schemas.openxmlformats.org/officeDocument/2006/relationships/slideLayout" Target="../slideLayouts/slideLayout322.xml"/><Relationship Id="rId9" Type="http://schemas.openxmlformats.org/officeDocument/2006/relationships/slideLayout" Target="../slideLayouts/slideLayout327.xml"/><Relationship Id="rId14" Type="http://schemas.openxmlformats.org/officeDocument/2006/relationships/slideLayout" Target="../slideLayouts/slideLayout332.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47.xml"/><Relationship Id="rId13" Type="http://schemas.openxmlformats.org/officeDocument/2006/relationships/slideLayout" Target="../slideLayouts/slideLayout352.xml"/><Relationship Id="rId18" Type="http://schemas.openxmlformats.org/officeDocument/2006/relationships/slideLayout" Target="../slideLayouts/slideLayout357.xml"/><Relationship Id="rId3" Type="http://schemas.openxmlformats.org/officeDocument/2006/relationships/slideLayout" Target="../slideLayouts/slideLayout342.xml"/><Relationship Id="rId21" Type="http://schemas.openxmlformats.org/officeDocument/2006/relationships/slideLayout" Target="../slideLayouts/slideLayout360.xml"/><Relationship Id="rId7" Type="http://schemas.openxmlformats.org/officeDocument/2006/relationships/slideLayout" Target="../slideLayouts/slideLayout346.xml"/><Relationship Id="rId12" Type="http://schemas.openxmlformats.org/officeDocument/2006/relationships/slideLayout" Target="../slideLayouts/slideLayout351.xml"/><Relationship Id="rId17" Type="http://schemas.openxmlformats.org/officeDocument/2006/relationships/slideLayout" Target="../slideLayouts/slideLayout356.xml"/><Relationship Id="rId2" Type="http://schemas.openxmlformats.org/officeDocument/2006/relationships/slideLayout" Target="../slideLayouts/slideLayout341.xml"/><Relationship Id="rId16" Type="http://schemas.openxmlformats.org/officeDocument/2006/relationships/slideLayout" Target="../slideLayouts/slideLayout355.xml"/><Relationship Id="rId20" Type="http://schemas.openxmlformats.org/officeDocument/2006/relationships/slideLayout" Target="../slideLayouts/slideLayout359.xml"/><Relationship Id="rId1" Type="http://schemas.openxmlformats.org/officeDocument/2006/relationships/slideLayout" Target="../slideLayouts/slideLayout340.xml"/><Relationship Id="rId6" Type="http://schemas.openxmlformats.org/officeDocument/2006/relationships/slideLayout" Target="../slideLayouts/slideLayout345.xml"/><Relationship Id="rId11" Type="http://schemas.openxmlformats.org/officeDocument/2006/relationships/slideLayout" Target="../slideLayouts/slideLayout350.xml"/><Relationship Id="rId5" Type="http://schemas.openxmlformats.org/officeDocument/2006/relationships/slideLayout" Target="../slideLayouts/slideLayout344.xml"/><Relationship Id="rId15" Type="http://schemas.openxmlformats.org/officeDocument/2006/relationships/slideLayout" Target="../slideLayouts/slideLayout354.xml"/><Relationship Id="rId10" Type="http://schemas.openxmlformats.org/officeDocument/2006/relationships/slideLayout" Target="../slideLayouts/slideLayout349.xml"/><Relationship Id="rId19" Type="http://schemas.openxmlformats.org/officeDocument/2006/relationships/slideLayout" Target="../slideLayouts/slideLayout358.xml"/><Relationship Id="rId4" Type="http://schemas.openxmlformats.org/officeDocument/2006/relationships/slideLayout" Target="../slideLayouts/slideLayout343.xml"/><Relationship Id="rId9" Type="http://schemas.openxmlformats.org/officeDocument/2006/relationships/slideLayout" Target="../slideLayouts/slideLayout348.xml"/><Relationship Id="rId14" Type="http://schemas.openxmlformats.org/officeDocument/2006/relationships/slideLayout" Target="../slideLayouts/slideLayout353.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slideLayout" Target="../slideLayouts/slideLayout373.xml"/><Relationship Id="rId18" Type="http://schemas.openxmlformats.org/officeDocument/2006/relationships/slideLayout" Target="../slideLayouts/slideLayout378.xml"/><Relationship Id="rId3" Type="http://schemas.openxmlformats.org/officeDocument/2006/relationships/slideLayout" Target="../slideLayouts/slideLayout363.xml"/><Relationship Id="rId21" Type="http://schemas.openxmlformats.org/officeDocument/2006/relationships/slideLayout" Target="../slideLayouts/slideLayout381.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17" Type="http://schemas.openxmlformats.org/officeDocument/2006/relationships/slideLayout" Target="../slideLayouts/slideLayout377.xml"/><Relationship Id="rId2" Type="http://schemas.openxmlformats.org/officeDocument/2006/relationships/slideLayout" Target="../slideLayouts/slideLayout362.xml"/><Relationship Id="rId16" Type="http://schemas.openxmlformats.org/officeDocument/2006/relationships/slideLayout" Target="../slideLayouts/slideLayout376.xml"/><Relationship Id="rId20" Type="http://schemas.openxmlformats.org/officeDocument/2006/relationships/slideLayout" Target="../slideLayouts/slideLayout380.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5" Type="http://schemas.openxmlformats.org/officeDocument/2006/relationships/slideLayout" Target="../slideLayouts/slideLayout365.xml"/><Relationship Id="rId15" Type="http://schemas.openxmlformats.org/officeDocument/2006/relationships/slideLayout" Target="../slideLayouts/slideLayout375.xml"/><Relationship Id="rId10" Type="http://schemas.openxmlformats.org/officeDocument/2006/relationships/slideLayout" Target="../slideLayouts/slideLayout370.xml"/><Relationship Id="rId19" Type="http://schemas.openxmlformats.org/officeDocument/2006/relationships/slideLayout" Target="../slideLayouts/slideLayout379.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slideLayout" Target="../slideLayouts/slideLayout374.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89.xml"/><Relationship Id="rId13" Type="http://schemas.openxmlformats.org/officeDocument/2006/relationships/slideLayout" Target="../slideLayouts/slideLayout394.xml"/><Relationship Id="rId18" Type="http://schemas.openxmlformats.org/officeDocument/2006/relationships/slideLayout" Target="../slideLayouts/slideLayout399.xml"/><Relationship Id="rId3" Type="http://schemas.openxmlformats.org/officeDocument/2006/relationships/slideLayout" Target="../slideLayouts/slideLayout384.xml"/><Relationship Id="rId21" Type="http://schemas.openxmlformats.org/officeDocument/2006/relationships/slideLayout" Target="../slideLayouts/slideLayout402.xml"/><Relationship Id="rId7" Type="http://schemas.openxmlformats.org/officeDocument/2006/relationships/slideLayout" Target="../slideLayouts/slideLayout388.xml"/><Relationship Id="rId12" Type="http://schemas.openxmlformats.org/officeDocument/2006/relationships/slideLayout" Target="../slideLayouts/slideLayout393.xml"/><Relationship Id="rId17" Type="http://schemas.openxmlformats.org/officeDocument/2006/relationships/slideLayout" Target="../slideLayouts/slideLayout398.xml"/><Relationship Id="rId2" Type="http://schemas.openxmlformats.org/officeDocument/2006/relationships/slideLayout" Target="../slideLayouts/slideLayout383.xml"/><Relationship Id="rId16" Type="http://schemas.openxmlformats.org/officeDocument/2006/relationships/slideLayout" Target="../slideLayouts/slideLayout397.xml"/><Relationship Id="rId20" Type="http://schemas.openxmlformats.org/officeDocument/2006/relationships/slideLayout" Target="../slideLayouts/slideLayout401.xml"/><Relationship Id="rId1" Type="http://schemas.openxmlformats.org/officeDocument/2006/relationships/slideLayout" Target="../slideLayouts/slideLayout382.xml"/><Relationship Id="rId6" Type="http://schemas.openxmlformats.org/officeDocument/2006/relationships/slideLayout" Target="../slideLayouts/slideLayout387.xml"/><Relationship Id="rId11" Type="http://schemas.openxmlformats.org/officeDocument/2006/relationships/slideLayout" Target="../slideLayouts/slideLayout392.xml"/><Relationship Id="rId5" Type="http://schemas.openxmlformats.org/officeDocument/2006/relationships/slideLayout" Target="../slideLayouts/slideLayout386.xml"/><Relationship Id="rId15" Type="http://schemas.openxmlformats.org/officeDocument/2006/relationships/slideLayout" Target="../slideLayouts/slideLayout396.xml"/><Relationship Id="rId10" Type="http://schemas.openxmlformats.org/officeDocument/2006/relationships/slideLayout" Target="../slideLayouts/slideLayout391.xml"/><Relationship Id="rId19" Type="http://schemas.openxmlformats.org/officeDocument/2006/relationships/slideLayout" Target="../slideLayouts/slideLayout400.xml"/><Relationship Id="rId4" Type="http://schemas.openxmlformats.org/officeDocument/2006/relationships/slideLayout" Target="../slideLayouts/slideLayout385.xml"/><Relationship Id="rId9" Type="http://schemas.openxmlformats.org/officeDocument/2006/relationships/slideLayout" Target="../slideLayouts/slideLayout390.xml"/><Relationship Id="rId14" Type="http://schemas.openxmlformats.org/officeDocument/2006/relationships/slideLayout" Target="../slideLayouts/slideLayout395.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10.xml"/><Relationship Id="rId13" Type="http://schemas.openxmlformats.org/officeDocument/2006/relationships/slideLayout" Target="../slideLayouts/slideLayout415.xml"/><Relationship Id="rId18" Type="http://schemas.openxmlformats.org/officeDocument/2006/relationships/slideLayout" Target="../slideLayouts/slideLayout420.xml"/><Relationship Id="rId3" Type="http://schemas.openxmlformats.org/officeDocument/2006/relationships/slideLayout" Target="../slideLayouts/slideLayout405.xml"/><Relationship Id="rId21" Type="http://schemas.openxmlformats.org/officeDocument/2006/relationships/slideLayout" Target="../slideLayouts/slideLayout423.xml"/><Relationship Id="rId7" Type="http://schemas.openxmlformats.org/officeDocument/2006/relationships/slideLayout" Target="../slideLayouts/slideLayout409.xml"/><Relationship Id="rId12" Type="http://schemas.openxmlformats.org/officeDocument/2006/relationships/slideLayout" Target="../slideLayouts/slideLayout414.xml"/><Relationship Id="rId17" Type="http://schemas.openxmlformats.org/officeDocument/2006/relationships/slideLayout" Target="../slideLayouts/slideLayout419.xml"/><Relationship Id="rId2" Type="http://schemas.openxmlformats.org/officeDocument/2006/relationships/slideLayout" Target="../slideLayouts/slideLayout404.xml"/><Relationship Id="rId16" Type="http://schemas.openxmlformats.org/officeDocument/2006/relationships/slideLayout" Target="../slideLayouts/slideLayout418.xml"/><Relationship Id="rId20" Type="http://schemas.openxmlformats.org/officeDocument/2006/relationships/slideLayout" Target="../slideLayouts/slideLayout422.xml"/><Relationship Id="rId1" Type="http://schemas.openxmlformats.org/officeDocument/2006/relationships/slideLayout" Target="../slideLayouts/slideLayout403.xml"/><Relationship Id="rId6" Type="http://schemas.openxmlformats.org/officeDocument/2006/relationships/slideLayout" Target="../slideLayouts/slideLayout408.xml"/><Relationship Id="rId11" Type="http://schemas.openxmlformats.org/officeDocument/2006/relationships/slideLayout" Target="../slideLayouts/slideLayout413.xml"/><Relationship Id="rId5" Type="http://schemas.openxmlformats.org/officeDocument/2006/relationships/slideLayout" Target="../slideLayouts/slideLayout407.xml"/><Relationship Id="rId15" Type="http://schemas.openxmlformats.org/officeDocument/2006/relationships/slideLayout" Target="../slideLayouts/slideLayout417.xml"/><Relationship Id="rId10" Type="http://schemas.openxmlformats.org/officeDocument/2006/relationships/slideLayout" Target="../slideLayouts/slideLayout412.xml"/><Relationship Id="rId19" Type="http://schemas.openxmlformats.org/officeDocument/2006/relationships/slideLayout" Target="../slideLayouts/slideLayout421.xml"/><Relationship Id="rId4" Type="http://schemas.openxmlformats.org/officeDocument/2006/relationships/slideLayout" Target="../slideLayouts/slideLayout406.xml"/><Relationship Id="rId9" Type="http://schemas.openxmlformats.org/officeDocument/2006/relationships/slideLayout" Target="../slideLayouts/slideLayout411.xml"/><Relationship Id="rId14" Type="http://schemas.openxmlformats.org/officeDocument/2006/relationships/slideLayout" Target="../slideLayouts/slideLayout416.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31.xml"/><Relationship Id="rId13" Type="http://schemas.openxmlformats.org/officeDocument/2006/relationships/slideLayout" Target="../slideLayouts/slideLayout436.xml"/><Relationship Id="rId18" Type="http://schemas.openxmlformats.org/officeDocument/2006/relationships/slideLayout" Target="../slideLayouts/slideLayout441.xml"/><Relationship Id="rId26" Type="http://schemas.openxmlformats.org/officeDocument/2006/relationships/slideLayout" Target="../slideLayouts/slideLayout449.xml"/><Relationship Id="rId39" Type="http://schemas.openxmlformats.org/officeDocument/2006/relationships/slideLayout" Target="../slideLayouts/slideLayout462.xml"/><Relationship Id="rId3" Type="http://schemas.openxmlformats.org/officeDocument/2006/relationships/slideLayout" Target="../slideLayouts/slideLayout426.xml"/><Relationship Id="rId21" Type="http://schemas.openxmlformats.org/officeDocument/2006/relationships/slideLayout" Target="../slideLayouts/slideLayout444.xml"/><Relationship Id="rId34" Type="http://schemas.openxmlformats.org/officeDocument/2006/relationships/slideLayout" Target="../slideLayouts/slideLayout457.xml"/><Relationship Id="rId42" Type="http://schemas.openxmlformats.org/officeDocument/2006/relationships/slideLayout" Target="../slideLayouts/slideLayout465.xml"/><Relationship Id="rId7" Type="http://schemas.openxmlformats.org/officeDocument/2006/relationships/slideLayout" Target="../slideLayouts/slideLayout430.xml"/><Relationship Id="rId12" Type="http://schemas.openxmlformats.org/officeDocument/2006/relationships/slideLayout" Target="../slideLayouts/slideLayout435.xml"/><Relationship Id="rId17" Type="http://schemas.openxmlformats.org/officeDocument/2006/relationships/slideLayout" Target="../slideLayouts/slideLayout440.xml"/><Relationship Id="rId25" Type="http://schemas.openxmlformats.org/officeDocument/2006/relationships/slideLayout" Target="../slideLayouts/slideLayout448.xml"/><Relationship Id="rId33" Type="http://schemas.openxmlformats.org/officeDocument/2006/relationships/slideLayout" Target="../slideLayouts/slideLayout456.xml"/><Relationship Id="rId38" Type="http://schemas.openxmlformats.org/officeDocument/2006/relationships/slideLayout" Target="../slideLayouts/slideLayout461.xml"/><Relationship Id="rId2" Type="http://schemas.openxmlformats.org/officeDocument/2006/relationships/slideLayout" Target="../slideLayouts/slideLayout425.xml"/><Relationship Id="rId16" Type="http://schemas.openxmlformats.org/officeDocument/2006/relationships/slideLayout" Target="../slideLayouts/slideLayout439.xml"/><Relationship Id="rId20" Type="http://schemas.openxmlformats.org/officeDocument/2006/relationships/slideLayout" Target="../slideLayouts/slideLayout443.xml"/><Relationship Id="rId29" Type="http://schemas.openxmlformats.org/officeDocument/2006/relationships/slideLayout" Target="../slideLayouts/slideLayout452.xml"/><Relationship Id="rId41" Type="http://schemas.openxmlformats.org/officeDocument/2006/relationships/slideLayout" Target="../slideLayouts/slideLayout464.xml"/><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slideLayout" Target="../slideLayouts/slideLayout434.xml"/><Relationship Id="rId24" Type="http://schemas.openxmlformats.org/officeDocument/2006/relationships/slideLayout" Target="../slideLayouts/slideLayout447.xml"/><Relationship Id="rId32" Type="http://schemas.openxmlformats.org/officeDocument/2006/relationships/slideLayout" Target="../slideLayouts/slideLayout455.xml"/><Relationship Id="rId37" Type="http://schemas.openxmlformats.org/officeDocument/2006/relationships/slideLayout" Target="../slideLayouts/slideLayout460.xml"/><Relationship Id="rId40" Type="http://schemas.openxmlformats.org/officeDocument/2006/relationships/slideLayout" Target="../slideLayouts/slideLayout463.xml"/><Relationship Id="rId5" Type="http://schemas.openxmlformats.org/officeDocument/2006/relationships/slideLayout" Target="../slideLayouts/slideLayout428.xml"/><Relationship Id="rId15" Type="http://schemas.openxmlformats.org/officeDocument/2006/relationships/slideLayout" Target="../slideLayouts/slideLayout438.xml"/><Relationship Id="rId23" Type="http://schemas.openxmlformats.org/officeDocument/2006/relationships/slideLayout" Target="../slideLayouts/slideLayout446.xml"/><Relationship Id="rId28" Type="http://schemas.openxmlformats.org/officeDocument/2006/relationships/slideLayout" Target="../slideLayouts/slideLayout451.xml"/><Relationship Id="rId36" Type="http://schemas.openxmlformats.org/officeDocument/2006/relationships/slideLayout" Target="../slideLayouts/slideLayout459.xml"/><Relationship Id="rId10" Type="http://schemas.openxmlformats.org/officeDocument/2006/relationships/slideLayout" Target="../slideLayouts/slideLayout433.xml"/><Relationship Id="rId19" Type="http://schemas.openxmlformats.org/officeDocument/2006/relationships/slideLayout" Target="../slideLayouts/slideLayout442.xml"/><Relationship Id="rId31" Type="http://schemas.openxmlformats.org/officeDocument/2006/relationships/slideLayout" Target="../slideLayouts/slideLayout454.xml"/><Relationship Id="rId44" Type="http://schemas.openxmlformats.org/officeDocument/2006/relationships/theme" Target="../theme/theme21.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slideLayout" Target="../slideLayouts/slideLayout437.xml"/><Relationship Id="rId22" Type="http://schemas.openxmlformats.org/officeDocument/2006/relationships/slideLayout" Target="../slideLayouts/slideLayout445.xml"/><Relationship Id="rId27" Type="http://schemas.openxmlformats.org/officeDocument/2006/relationships/slideLayout" Target="../slideLayouts/slideLayout450.xml"/><Relationship Id="rId30" Type="http://schemas.openxmlformats.org/officeDocument/2006/relationships/slideLayout" Target="../slideLayouts/slideLayout453.xml"/><Relationship Id="rId35" Type="http://schemas.openxmlformats.org/officeDocument/2006/relationships/slideLayout" Target="../slideLayouts/slideLayout458.xml"/><Relationship Id="rId43" Type="http://schemas.openxmlformats.org/officeDocument/2006/relationships/slideLayout" Target="../slideLayouts/slideLayout466.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74.xml"/><Relationship Id="rId3" Type="http://schemas.openxmlformats.org/officeDocument/2006/relationships/slideLayout" Target="../slideLayouts/slideLayout469.xml"/><Relationship Id="rId7" Type="http://schemas.openxmlformats.org/officeDocument/2006/relationships/slideLayout" Target="../slideLayouts/slideLayout473.xml"/><Relationship Id="rId12" Type="http://schemas.openxmlformats.org/officeDocument/2006/relationships/theme" Target="../theme/theme22.xml"/><Relationship Id="rId2" Type="http://schemas.openxmlformats.org/officeDocument/2006/relationships/slideLayout" Target="../slideLayouts/slideLayout468.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5" Type="http://schemas.openxmlformats.org/officeDocument/2006/relationships/slideLayout" Target="../slideLayouts/slideLayout471.xml"/><Relationship Id="rId10" Type="http://schemas.openxmlformats.org/officeDocument/2006/relationships/slideLayout" Target="../slideLayouts/slideLayout476.xml"/><Relationship Id="rId4" Type="http://schemas.openxmlformats.org/officeDocument/2006/relationships/slideLayout" Target="../slideLayouts/slideLayout470.xml"/><Relationship Id="rId9" Type="http://schemas.openxmlformats.org/officeDocument/2006/relationships/slideLayout" Target="../slideLayouts/slideLayout475.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85.xml"/><Relationship Id="rId13" Type="http://schemas.openxmlformats.org/officeDocument/2006/relationships/slideLayout" Target="../slideLayouts/slideLayout490.xml"/><Relationship Id="rId18" Type="http://schemas.openxmlformats.org/officeDocument/2006/relationships/slideLayout" Target="../slideLayouts/slideLayout495.xml"/><Relationship Id="rId3" Type="http://schemas.openxmlformats.org/officeDocument/2006/relationships/slideLayout" Target="../slideLayouts/slideLayout480.xml"/><Relationship Id="rId21" Type="http://schemas.openxmlformats.org/officeDocument/2006/relationships/slideLayout" Target="../slideLayouts/slideLayout498.xml"/><Relationship Id="rId7" Type="http://schemas.openxmlformats.org/officeDocument/2006/relationships/slideLayout" Target="../slideLayouts/slideLayout484.xml"/><Relationship Id="rId12" Type="http://schemas.openxmlformats.org/officeDocument/2006/relationships/slideLayout" Target="../slideLayouts/slideLayout489.xml"/><Relationship Id="rId17" Type="http://schemas.openxmlformats.org/officeDocument/2006/relationships/slideLayout" Target="../slideLayouts/slideLayout494.xml"/><Relationship Id="rId2" Type="http://schemas.openxmlformats.org/officeDocument/2006/relationships/slideLayout" Target="../slideLayouts/slideLayout479.xml"/><Relationship Id="rId16" Type="http://schemas.openxmlformats.org/officeDocument/2006/relationships/slideLayout" Target="../slideLayouts/slideLayout493.xml"/><Relationship Id="rId20" Type="http://schemas.openxmlformats.org/officeDocument/2006/relationships/slideLayout" Target="../slideLayouts/slideLayout497.xml"/><Relationship Id="rId1" Type="http://schemas.openxmlformats.org/officeDocument/2006/relationships/slideLayout" Target="../slideLayouts/slideLayout478.xml"/><Relationship Id="rId6" Type="http://schemas.openxmlformats.org/officeDocument/2006/relationships/slideLayout" Target="../slideLayouts/slideLayout483.xml"/><Relationship Id="rId11" Type="http://schemas.openxmlformats.org/officeDocument/2006/relationships/slideLayout" Target="../slideLayouts/slideLayout488.xml"/><Relationship Id="rId5" Type="http://schemas.openxmlformats.org/officeDocument/2006/relationships/slideLayout" Target="../slideLayouts/slideLayout482.xml"/><Relationship Id="rId15" Type="http://schemas.openxmlformats.org/officeDocument/2006/relationships/slideLayout" Target="../slideLayouts/slideLayout492.xml"/><Relationship Id="rId10" Type="http://schemas.openxmlformats.org/officeDocument/2006/relationships/slideLayout" Target="../slideLayouts/slideLayout487.xml"/><Relationship Id="rId19" Type="http://schemas.openxmlformats.org/officeDocument/2006/relationships/slideLayout" Target="../slideLayouts/slideLayout496.xml"/><Relationship Id="rId4" Type="http://schemas.openxmlformats.org/officeDocument/2006/relationships/slideLayout" Target="../slideLayouts/slideLayout481.xml"/><Relationship Id="rId9" Type="http://schemas.openxmlformats.org/officeDocument/2006/relationships/slideLayout" Target="../slideLayouts/slideLayout486.xml"/><Relationship Id="rId14" Type="http://schemas.openxmlformats.org/officeDocument/2006/relationships/slideLayout" Target="../slideLayouts/slideLayout491.xml"/><Relationship Id="rId22"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06.xml"/><Relationship Id="rId13" Type="http://schemas.openxmlformats.org/officeDocument/2006/relationships/slideLayout" Target="../slideLayouts/slideLayout511.xml"/><Relationship Id="rId18" Type="http://schemas.openxmlformats.org/officeDocument/2006/relationships/theme" Target="../theme/theme24.xml"/><Relationship Id="rId3" Type="http://schemas.openxmlformats.org/officeDocument/2006/relationships/slideLayout" Target="../slideLayouts/slideLayout501.xml"/><Relationship Id="rId21" Type="http://schemas.openxmlformats.org/officeDocument/2006/relationships/image" Target="../media/image6.png"/><Relationship Id="rId7" Type="http://schemas.openxmlformats.org/officeDocument/2006/relationships/slideLayout" Target="../slideLayouts/slideLayout505.xml"/><Relationship Id="rId12" Type="http://schemas.openxmlformats.org/officeDocument/2006/relationships/slideLayout" Target="../slideLayouts/slideLayout510.xml"/><Relationship Id="rId17" Type="http://schemas.openxmlformats.org/officeDocument/2006/relationships/slideLayout" Target="../slideLayouts/slideLayout515.xml"/><Relationship Id="rId2" Type="http://schemas.openxmlformats.org/officeDocument/2006/relationships/slideLayout" Target="../slideLayouts/slideLayout500.xml"/><Relationship Id="rId16" Type="http://schemas.openxmlformats.org/officeDocument/2006/relationships/slideLayout" Target="../slideLayouts/slideLayout514.xml"/><Relationship Id="rId20" Type="http://schemas.openxmlformats.org/officeDocument/2006/relationships/image" Target="../media/image5.png"/><Relationship Id="rId1" Type="http://schemas.openxmlformats.org/officeDocument/2006/relationships/slideLayout" Target="../slideLayouts/slideLayout499.xml"/><Relationship Id="rId6" Type="http://schemas.openxmlformats.org/officeDocument/2006/relationships/slideLayout" Target="../slideLayouts/slideLayout504.xml"/><Relationship Id="rId11" Type="http://schemas.openxmlformats.org/officeDocument/2006/relationships/slideLayout" Target="../slideLayouts/slideLayout509.xml"/><Relationship Id="rId5" Type="http://schemas.openxmlformats.org/officeDocument/2006/relationships/slideLayout" Target="../slideLayouts/slideLayout503.xml"/><Relationship Id="rId15" Type="http://schemas.openxmlformats.org/officeDocument/2006/relationships/slideLayout" Target="../slideLayouts/slideLayout513.xml"/><Relationship Id="rId10" Type="http://schemas.openxmlformats.org/officeDocument/2006/relationships/slideLayout" Target="../slideLayouts/slideLayout508.xml"/><Relationship Id="rId19" Type="http://schemas.openxmlformats.org/officeDocument/2006/relationships/image" Target="../media/image4.png"/><Relationship Id="rId4" Type="http://schemas.openxmlformats.org/officeDocument/2006/relationships/slideLayout" Target="../slideLayouts/slideLayout502.xml"/><Relationship Id="rId9" Type="http://schemas.openxmlformats.org/officeDocument/2006/relationships/slideLayout" Target="../slideLayouts/slideLayout507.xml"/><Relationship Id="rId14" Type="http://schemas.openxmlformats.org/officeDocument/2006/relationships/slideLayout" Target="../slideLayouts/slideLayout512.xml"/><Relationship Id="rId22" Type="http://schemas.openxmlformats.org/officeDocument/2006/relationships/image" Target="../media/image7.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slideLayout" Target="../slideLayouts/slideLayout528.xml"/><Relationship Id="rId18" Type="http://schemas.openxmlformats.org/officeDocument/2006/relationships/theme" Target="../theme/theme25.xml"/><Relationship Id="rId3" Type="http://schemas.openxmlformats.org/officeDocument/2006/relationships/slideLayout" Target="../slideLayouts/slideLayout518.xml"/><Relationship Id="rId21" Type="http://schemas.openxmlformats.org/officeDocument/2006/relationships/image" Target="../media/image6.png"/><Relationship Id="rId7" Type="http://schemas.openxmlformats.org/officeDocument/2006/relationships/slideLayout" Target="../slideLayouts/slideLayout522.xml"/><Relationship Id="rId12" Type="http://schemas.openxmlformats.org/officeDocument/2006/relationships/slideLayout" Target="../slideLayouts/slideLayout527.xml"/><Relationship Id="rId17" Type="http://schemas.openxmlformats.org/officeDocument/2006/relationships/slideLayout" Target="../slideLayouts/slideLayout532.xml"/><Relationship Id="rId2" Type="http://schemas.openxmlformats.org/officeDocument/2006/relationships/slideLayout" Target="../slideLayouts/slideLayout517.xml"/><Relationship Id="rId16" Type="http://schemas.openxmlformats.org/officeDocument/2006/relationships/slideLayout" Target="../slideLayouts/slideLayout531.xml"/><Relationship Id="rId20" Type="http://schemas.openxmlformats.org/officeDocument/2006/relationships/image" Target="../media/image5.png"/><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5" Type="http://schemas.openxmlformats.org/officeDocument/2006/relationships/slideLayout" Target="../slideLayouts/slideLayout520.xml"/><Relationship Id="rId15" Type="http://schemas.openxmlformats.org/officeDocument/2006/relationships/slideLayout" Target="../slideLayouts/slideLayout530.xml"/><Relationship Id="rId10" Type="http://schemas.openxmlformats.org/officeDocument/2006/relationships/slideLayout" Target="../slideLayouts/slideLayout525.xml"/><Relationship Id="rId19" Type="http://schemas.openxmlformats.org/officeDocument/2006/relationships/image" Target="../media/image4.png"/><Relationship Id="rId4" Type="http://schemas.openxmlformats.org/officeDocument/2006/relationships/slideLayout" Target="../slideLayouts/slideLayout519.xml"/><Relationship Id="rId9" Type="http://schemas.openxmlformats.org/officeDocument/2006/relationships/slideLayout" Target="../slideLayouts/slideLayout524.xml"/><Relationship Id="rId14" Type="http://schemas.openxmlformats.org/officeDocument/2006/relationships/slideLayout" Target="../slideLayouts/slideLayout529.xml"/><Relationship Id="rId22"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C71EC6-210F-42DE-9C53-41977AD35B3D}" type="datetimeFigureOut">
              <a:rPr lang="ru-RU" smtClean="0"/>
              <a:t>16.12.2021</a:t>
            </a:fld>
            <a:endParaRPr lang="ru-RU"/>
          </a:p>
        </p:txBody>
      </p:sp>
      <p:sp>
        <p:nvSpPr>
          <p:cNvPr id="5" name="Нижний колонтитул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9B0651-EE4F-4900-A07F-96A6BFA9D0F0}" type="slidenum">
              <a:rPr lang="ru-RU" smtClean="0"/>
              <a:t>‹#›</a:t>
            </a:fld>
            <a:endParaRPr lang="ru-R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1721505153"/>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2013021090"/>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544398226"/>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9219"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defRPr>
            </a:lvl1pPr>
          </a:lstStyle>
          <a:p>
            <a:pPr fontAlgn="base">
              <a:spcBef>
                <a:spcPct val="0"/>
              </a:spcBef>
              <a:spcAft>
                <a:spcPct val="0"/>
              </a:spcAft>
              <a:defRPr/>
            </a:pPr>
            <a:endParaRPr lang="ru-RU"/>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defRPr>
            </a:lvl1pPr>
          </a:lstStyle>
          <a:p>
            <a:pPr fontAlgn="base">
              <a:spcBef>
                <a:spcPct val="0"/>
              </a:spcBef>
              <a:spcAft>
                <a:spcPct val="0"/>
              </a:spcAft>
              <a:defRPr/>
            </a:pPr>
            <a:endParaRPr lang="ru-RU"/>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defRPr>
            </a:lvl1pPr>
          </a:lstStyle>
          <a:p>
            <a:pPr fontAlgn="base">
              <a:spcBef>
                <a:spcPct val="0"/>
              </a:spcBef>
              <a:spcAft>
                <a:spcPct val="0"/>
              </a:spcAft>
              <a:defRPr/>
            </a:pPr>
            <a:fld id="{2F0EE9E9-918B-416C-81F6-F129C5DE63D4}"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val="3690627799"/>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 id="2147483929" r:id="rId36"/>
    <p:sldLayoutId id="2147483930" r:id="rId37"/>
    <p:sldLayoutId id="2147483931" r:id="rId38"/>
    <p:sldLayoutId id="2147483932" r:id="rId39"/>
    <p:sldLayoutId id="2147483933" r:id="rId40"/>
    <p:sldLayoutId id="2147483934" r:id="rId41"/>
    <p:sldLayoutId id="2147483935" r:id="rId42"/>
    <p:sldLayoutId id="2147483936" r:id="rId43"/>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3155269757"/>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889611481"/>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2208585504"/>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 id="2147484032" r:id="rId13"/>
    <p:sldLayoutId id="2147484033" r:id="rId14"/>
    <p:sldLayoutId id="2147484034" r:id="rId15"/>
    <p:sldLayoutId id="2147484035" r:id="rId16"/>
    <p:sldLayoutId id="2147484036" r:id="rId17"/>
    <p:sldLayoutId id="2147484037" r:id="rId18"/>
    <p:sldLayoutId id="2147484038" r:id="rId19"/>
    <p:sldLayoutId id="2147484039" r:id="rId20"/>
    <p:sldLayoutId id="2147484040"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3933414519"/>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59" r:id="rId18"/>
    <p:sldLayoutId id="2147484060" r:id="rId19"/>
    <p:sldLayoutId id="2147484061" r:id="rId20"/>
    <p:sldLayoutId id="2147484062"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2581138913"/>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 id="2147484075" r:id="rId12"/>
    <p:sldLayoutId id="2147484076" r:id="rId13"/>
    <p:sldLayoutId id="2147484077" r:id="rId14"/>
    <p:sldLayoutId id="2147484078" r:id="rId15"/>
    <p:sldLayoutId id="2147484079" r:id="rId16"/>
    <p:sldLayoutId id="2147484080" r:id="rId17"/>
    <p:sldLayoutId id="2147484081" r:id="rId18"/>
    <p:sldLayoutId id="2147484082" r:id="rId19"/>
    <p:sldLayoutId id="2147484083" r:id="rId20"/>
    <p:sldLayoutId id="2147484084"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3613527024"/>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1281976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2209913610"/>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16" r:id="rId9"/>
    <p:sldLayoutId id="2147484117" r:id="rId10"/>
    <p:sldLayoutId id="2147484118" r:id="rId11"/>
    <p:sldLayoutId id="2147484119" r:id="rId12"/>
    <p:sldLayoutId id="2147484120" r:id="rId13"/>
    <p:sldLayoutId id="2147484121" r:id="rId14"/>
    <p:sldLayoutId id="2147484122" r:id="rId15"/>
    <p:sldLayoutId id="2147484123" r:id="rId16"/>
    <p:sldLayoutId id="2147484124" r:id="rId17"/>
    <p:sldLayoutId id="2147484125" r:id="rId18"/>
    <p:sldLayoutId id="2147484126" r:id="rId19"/>
    <p:sldLayoutId id="2147484127" r:id="rId20"/>
    <p:sldLayoutId id="2147484128"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43"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defRPr>
            </a:lvl1pPr>
          </a:lstStyle>
          <a:p>
            <a:pPr fontAlgn="base">
              <a:spcBef>
                <a:spcPct val="0"/>
              </a:spcBef>
              <a:spcAft>
                <a:spcPct val="0"/>
              </a:spcAft>
              <a:defRPr/>
            </a:pPr>
            <a:endParaRPr lang="ru-RU"/>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defRPr>
            </a:lvl1pPr>
          </a:lstStyle>
          <a:p>
            <a:pPr fontAlgn="base">
              <a:spcBef>
                <a:spcPct val="0"/>
              </a:spcBef>
              <a:spcAft>
                <a:spcPct val="0"/>
              </a:spcAft>
              <a:defRPr/>
            </a:pPr>
            <a:endParaRPr lang="ru-RU"/>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defRPr>
            </a:lvl1pPr>
          </a:lstStyle>
          <a:p>
            <a:pPr fontAlgn="base">
              <a:spcBef>
                <a:spcPct val="0"/>
              </a:spcBef>
              <a:spcAft>
                <a:spcPct val="0"/>
              </a:spcAft>
              <a:defRPr/>
            </a:pPr>
            <a:fld id="{A9649D83-0190-4395-9263-69D8A36DE3FF}"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val="88899384"/>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 id="2147484139" r:id="rId10"/>
    <p:sldLayoutId id="2147484140" r:id="rId11"/>
    <p:sldLayoutId id="2147484141" r:id="rId12"/>
    <p:sldLayoutId id="2147484142" r:id="rId13"/>
    <p:sldLayoutId id="2147484143" r:id="rId14"/>
    <p:sldLayoutId id="2147484144" r:id="rId15"/>
    <p:sldLayoutId id="2147484145" r:id="rId16"/>
    <p:sldLayoutId id="2147484146" r:id="rId17"/>
    <p:sldLayoutId id="2147484147" r:id="rId18"/>
    <p:sldLayoutId id="2147484148" r:id="rId19"/>
    <p:sldLayoutId id="2147484149" r:id="rId20"/>
    <p:sldLayoutId id="2147484150" r:id="rId21"/>
    <p:sldLayoutId id="2147484151" r:id="rId22"/>
    <p:sldLayoutId id="2147484152" r:id="rId23"/>
    <p:sldLayoutId id="2147484153" r:id="rId24"/>
    <p:sldLayoutId id="2147484154" r:id="rId25"/>
    <p:sldLayoutId id="2147484155" r:id="rId26"/>
    <p:sldLayoutId id="2147484156" r:id="rId27"/>
    <p:sldLayoutId id="2147484157" r:id="rId28"/>
    <p:sldLayoutId id="2147484158" r:id="rId29"/>
    <p:sldLayoutId id="2147484159" r:id="rId30"/>
    <p:sldLayoutId id="2147484160" r:id="rId31"/>
    <p:sldLayoutId id="2147484161" r:id="rId32"/>
    <p:sldLayoutId id="2147484162" r:id="rId33"/>
    <p:sldLayoutId id="2147484163" r:id="rId34"/>
    <p:sldLayoutId id="2147484164" r:id="rId35"/>
    <p:sldLayoutId id="2147484165" r:id="rId36"/>
    <p:sldLayoutId id="2147484166" r:id="rId37"/>
    <p:sldLayoutId id="2147484167" r:id="rId38"/>
    <p:sldLayoutId id="2147484168" r:id="rId39"/>
    <p:sldLayoutId id="2147484169" r:id="rId40"/>
    <p:sldLayoutId id="2147484170" r:id="rId41"/>
    <p:sldLayoutId id="2147484171" r:id="rId42"/>
    <p:sldLayoutId id="2147484172" r:id="rId43"/>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2230967" y="965200"/>
            <a:ext cx="7730067" cy="1187450"/>
          </a:xfrm>
          <a:prstGeom prst="rect">
            <a:avLst/>
          </a:prstGeom>
          <a:solidFill>
            <a:schemeClr val="bg2">
              <a:lumMod val="60000"/>
              <a:lumOff val="40000"/>
              <a:alpha val="15000"/>
            </a:schemeClr>
          </a:solidFill>
          <a:ln w="31750" cap="sq">
            <a:solidFill>
              <a:schemeClr val="tx1">
                <a:lumMod val="75000"/>
                <a:lumOff val="25000"/>
              </a:schemeClr>
            </a:solidFill>
            <a:miter lim="800000"/>
          </a:ln>
        </p:spPr>
        <p:txBody>
          <a:bodyPr vert="horz" lIns="182880" tIns="182880" rIns="182880" bIns="182880" rtlCol="0" anchor="ctr">
            <a:normAutofit/>
          </a:bodyPr>
          <a:lstStyle/>
          <a:p>
            <a:r>
              <a:rPr lang="ru-RU" smtClean="0"/>
              <a:t>Образец заголовка</a:t>
            </a:r>
            <a:endParaRPr lang="en-US" dirty="0"/>
          </a:p>
        </p:txBody>
      </p:sp>
      <p:sp>
        <p:nvSpPr>
          <p:cNvPr id="2051" name="Text Placeholder 2"/>
          <p:cNvSpPr>
            <a:spLocks noGrp="1"/>
          </p:cNvSpPr>
          <p:nvPr>
            <p:ph type="body" idx="1"/>
          </p:nvPr>
        </p:nvSpPr>
        <p:spPr bwMode="auto">
          <a:xfrm>
            <a:off x="2230967" y="2638426"/>
            <a:ext cx="7730067" cy="310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ru-RU" smtClean="0"/>
              <a:t>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sp>
        <p:nvSpPr>
          <p:cNvPr id="4" name="Date Placeholder 3"/>
          <p:cNvSpPr>
            <a:spLocks noGrp="1"/>
          </p:cNvSpPr>
          <p:nvPr>
            <p:ph type="dt" sz="half" idx="2"/>
          </p:nvPr>
        </p:nvSpPr>
        <p:spPr>
          <a:xfrm>
            <a:off x="7821085" y="6238875"/>
            <a:ext cx="2753783" cy="323850"/>
          </a:xfrm>
          <a:prstGeom prst="rect">
            <a:avLst/>
          </a:prstGeom>
        </p:spPr>
        <p:txBody>
          <a:bodyPr vert="horz" lIns="91440" tIns="45720" rIns="91440" bIns="45720" rtlCol="0" anchor="ctr"/>
          <a:lstStyle>
            <a:lvl1pPr algn="r" defTabSz="457200" fontAlgn="auto">
              <a:spcBef>
                <a:spcPts val="0"/>
              </a:spcBef>
              <a:spcAft>
                <a:spcPts val="0"/>
              </a:spcAft>
              <a:defRPr sz="1050">
                <a:solidFill>
                  <a:prstClr val="black">
                    <a:alpha val="70000"/>
                  </a:prstClr>
                </a:solidFill>
                <a:latin typeface="Corbel"/>
                <a:cs typeface="+mn-cs"/>
              </a:defRPr>
            </a:lvl1pPr>
          </a:lstStyle>
          <a:p>
            <a:pPr>
              <a:defRPr/>
            </a:pPr>
            <a:fld id="{777D4DED-6A31-456A-ABB1-139292E6C033}" type="datetimeFigureOut">
              <a:rPr lang="ru-RU"/>
              <a:pPr>
                <a:defRPr/>
              </a:pPr>
              <a:t>16.12.2021</a:t>
            </a:fld>
            <a:endParaRPr lang="ru-RU"/>
          </a:p>
        </p:txBody>
      </p:sp>
      <p:sp>
        <p:nvSpPr>
          <p:cNvPr id="5" name="Footer Placeholder 4"/>
          <p:cNvSpPr>
            <a:spLocks noGrp="1"/>
          </p:cNvSpPr>
          <p:nvPr>
            <p:ph type="ftr" sz="quarter" idx="3"/>
          </p:nvPr>
        </p:nvSpPr>
        <p:spPr>
          <a:xfrm>
            <a:off x="1600200" y="6235701"/>
            <a:ext cx="5901267" cy="320675"/>
          </a:xfrm>
          <a:prstGeom prst="rect">
            <a:avLst/>
          </a:prstGeom>
        </p:spPr>
        <p:txBody>
          <a:bodyPr vert="horz" lIns="91440" tIns="45720" rIns="91440" bIns="45720" rtlCol="0" anchor="ctr"/>
          <a:lstStyle>
            <a:lvl1pPr algn="l" defTabSz="457200" fontAlgn="auto">
              <a:spcBef>
                <a:spcPts val="0"/>
              </a:spcBef>
              <a:spcAft>
                <a:spcPts val="0"/>
              </a:spcAft>
              <a:defRPr sz="1050">
                <a:solidFill>
                  <a:prstClr val="black">
                    <a:alpha val="70000"/>
                  </a:prstClr>
                </a:solidFill>
                <a:latin typeface="Corbel"/>
                <a:cs typeface="+mn-cs"/>
              </a:defRPr>
            </a:lvl1pPr>
          </a:lstStyle>
          <a:p>
            <a:pPr>
              <a:defRPr/>
            </a:pPr>
            <a:endParaRPr lang="ru-RU"/>
          </a:p>
        </p:txBody>
      </p:sp>
      <p:sp>
        <p:nvSpPr>
          <p:cNvPr id="6" name="Slide Number Placeholder 5"/>
          <p:cNvSpPr>
            <a:spLocks noGrp="1"/>
          </p:cNvSpPr>
          <p:nvPr>
            <p:ph type="sldNum" sz="quarter" idx="4"/>
          </p:nvPr>
        </p:nvSpPr>
        <p:spPr>
          <a:xfrm>
            <a:off x="10759018" y="6218239"/>
            <a:ext cx="366183" cy="365125"/>
          </a:xfrm>
          <a:prstGeom prst="ellipse">
            <a:avLst/>
          </a:prstGeom>
          <a:solidFill>
            <a:srgbClr val="1D1D1D">
              <a:alpha val="69804"/>
            </a:srgbClr>
          </a:solidFill>
        </p:spPr>
        <p:txBody>
          <a:bodyPr vert="horz" lIns="18288" tIns="45720" rIns="18288" bIns="45720" rtlCol="0" anchor="ctr">
            <a:noAutofit/>
          </a:bodyPr>
          <a:lstStyle>
            <a:lvl1pPr algn="ctr" defTabSz="457200" fontAlgn="auto">
              <a:spcBef>
                <a:spcPts val="0"/>
              </a:spcBef>
              <a:spcAft>
                <a:spcPts val="0"/>
              </a:spcAft>
              <a:defRPr sz="1100" spc="0" baseline="0">
                <a:solidFill>
                  <a:srgbClr val="FFFFFF"/>
                </a:solidFill>
                <a:latin typeface="Corbel"/>
                <a:cs typeface="+mn-cs"/>
              </a:defRPr>
            </a:lvl1pPr>
          </a:lstStyle>
          <a:p>
            <a:pPr>
              <a:defRPr/>
            </a:pPr>
            <a:fld id="{ECFFA272-C591-4694-9BE0-C6866648D226}" type="slidenum">
              <a:rPr lang="ru-RU"/>
              <a:pPr>
                <a:defRPr/>
              </a:pPr>
              <a:t>‹#›</a:t>
            </a:fld>
            <a:endParaRPr lang="ru-RU"/>
          </a:p>
        </p:txBody>
      </p:sp>
    </p:spTree>
    <p:extLst>
      <p:ext uri="{BB962C8B-B14F-4D97-AF65-F5344CB8AC3E}">
        <p14:creationId xmlns:p14="http://schemas.microsoft.com/office/powerpoint/2010/main" val="2588915269"/>
      </p:ext>
    </p:extLst>
  </p:cSld>
  <p:clrMap bg1="lt1" tx1="dk1" bg2="lt2" tx2="dk2" accent1="accent1" accent2="accent2" accent3="accent3" accent4="accent4" accent5="accent5" accent6="accent6" hlink="hlink" folHlink="folHlink"/>
  <p:sldLayoutIdLst>
    <p:sldLayoutId id="2147484174" r:id="rId1"/>
    <p:sldLayoutId id="2147484175" r:id="rId2"/>
    <p:sldLayoutId id="2147484176" r:id="rId3"/>
    <p:sldLayoutId id="2147484177" r:id="rId4"/>
    <p:sldLayoutId id="2147484178" r:id="rId5"/>
    <p:sldLayoutId id="2147484179" r:id="rId6"/>
    <p:sldLayoutId id="2147484180" r:id="rId7"/>
    <p:sldLayoutId id="2147484181" r:id="rId8"/>
    <p:sldLayoutId id="2147484182" r:id="rId9"/>
    <p:sldLayoutId id="2147484183" r:id="rId10"/>
    <p:sldLayoutId id="2147484184" r:id="rId11"/>
  </p:sldLayoutIdLst>
  <p:txStyles>
    <p:titleStyle>
      <a:lvl1pPr algn="ctr" rtl="0" eaLnBrk="0" fontAlgn="base" hangingPunct="0">
        <a:lnSpc>
          <a:spcPct val="90000"/>
        </a:lnSpc>
        <a:spcBef>
          <a:spcPct val="0"/>
        </a:spcBef>
        <a:spcAft>
          <a:spcPct val="0"/>
        </a:spcAft>
        <a:defRPr sz="2800" kern="1200" cap="all" spc="200">
          <a:solidFill>
            <a:srgbClr val="262626"/>
          </a:solidFill>
          <a:latin typeface="+mj-lt"/>
          <a:ea typeface="+mj-ea"/>
          <a:cs typeface="+mj-cs"/>
        </a:defRPr>
      </a:lvl1pPr>
      <a:lvl2pPr algn="ctr" rtl="0" eaLnBrk="0" fontAlgn="base" hangingPunct="0">
        <a:lnSpc>
          <a:spcPct val="90000"/>
        </a:lnSpc>
        <a:spcBef>
          <a:spcPct val="0"/>
        </a:spcBef>
        <a:spcAft>
          <a:spcPct val="0"/>
        </a:spcAft>
        <a:defRPr sz="2800">
          <a:solidFill>
            <a:srgbClr val="262626"/>
          </a:solidFill>
          <a:latin typeface="Corbel" pitchFamily="34" charset="0"/>
        </a:defRPr>
      </a:lvl2pPr>
      <a:lvl3pPr algn="ctr" rtl="0" eaLnBrk="0" fontAlgn="base" hangingPunct="0">
        <a:lnSpc>
          <a:spcPct val="90000"/>
        </a:lnSpc>
        <a:spcBef>
          <a:spcPct val="0"/>
        </a:spcBef>
        <a:spcAft>
          <a:spcPct val="0"/>
        </a:spcAft>
        <a:defRPr sz="2800">
          <a:solidFill>
            <a:srgbClr val="262626"/>
          </a:solidFill>
          <a:latin typeface="Corbel" pitchFamily="34" charset="0"/>
        </a:defRPr>
      </a:lvl3pPr>
      <a:lvl4pPr algn="ctr" rtl="0" eaLnBrk="0" fontAlgn="base" hangingPunct="0">
        <a:lnSpc>
          <a:spcPct val="90000"/>
        </a:lnSpc>
        <a:spcBef>
          <a:spcPct val="0"/>
        </a:spcBef>
        <a:spcAft>
          <a:spcPct val="0"/>
        </a:spcAft>
        <a:defRPr sz="2800">
          <a:solidFill>
            <a:srgbClr val="262626"/>
          </a:solidFill>
          <a:latin typeface="Corbel" pitchFamily="34" charset="0"/>
        </a:defRPr>
      </a:lvl4pPr>
      <a:lvl5pPr algn="ctr" rtl="0" eaLnBrk="0" fontAlgn="base" hangingPunct="0">
        <a:lnSpc>
          <a:spcPct val="90000"/>
        </a:lnSpc>
        <a:spcBef>
          <a:spcPct val="0"/>
        </a:spcBef>
        <a:spcAft>
          <a:spcPct val="0"/>
        </a:spcAft>
        <a:defRPr sz="2800">
          <a:solidFill>
            <a:srgbClr val="262626"/>
          </a:solidFill>
          <a:latin typeface="Corbel" pitchFamily="34" charset="0"/>
        </a:defRPr>
      </a:lvl5pPr>
      <a:lvl6pPr marL="457200" algn="ctr" rtl="0" fontAlgn="base">
        <a:lnSpc>
          <a:spcPct val="90000"/>
        </a:lnSpc>
        <a:spcBef>
          <a:spcPct val="0"/>
        </a:spcBef>
        <a:spcAft>
          <a:spcPct val="0"/>
        </a:spcAft>
        <a:defRPr sz="2800">
          <a:solidFill>
            <a:srgbClr val="262626"/>
          </a:solidFill>
          <a:latin typeface="Corbel" pitchFamily="34" charset="0"/>
        </a:defRPr>
      </a:lvl6pPr>
      <a:lvl7pPr marL="914400" algn="ctr" rtl="0" fontAlgn="base">
        <a:lnSpc>
          <a:spcPct val="90000"/>
        </a:lnSpc>
        <a:spcBef>
          <a:spcPct val="0"/>
        </a:spcBef>
        <a:spcAft>
          <a:spcPct val="0"/>
        </a:spcAft>
        <a:defRPr sz="2800">
          <a:solidFill>
            <a:srgbClr val="262626"/>
          </a:solidFill>
          <a:latin typeface="Corbel" pitchFamily="34" charset="0"/>
        </a:defRPr>
      </a:lvl7pPr>
      <a:lvl8pPr marL="1371600" algn="ctr" rtl="0" fontAlgn="base">
        <a:lnSpc>
          <a:spcPct val="90000"/>
        </a:lnSpc>
        <a:spcBef>
          <a:spcPct val="0"/>
        </a:spcBef>
        <a:spcAft>
          <a:spcPct val="0"/>
        </a:spcAft>
        <a:defRPr sz="2800">
          <a:solidFill>
            <a:srgbClr val="262626"/>
          </a:solidFill>
          <a:latin typeface="Corbel" pitchFamily="34" charset="0"/>
        </a:defRPr>
      </a:lvl8pPr>
      <a:lvl9pPr marL="1828800" algn="ctr" rtl="0" fontAlgn="base">
        <a:lnSpc>
          <a:spcPct val="90000"/>
        </a:lnSpc>
        <a:spcBef>
          <a:spcPct val="0"/>
        </a:spcBef>
        <a:spcAft>
          <a:spcPct val="0"/>
        </a:spcAft>
        <a:defRPr sz="2800">
          <a:solidFill>
            <a:srgbClr val="262626"/>
          </a:solidFill>
          <a:latin typeface="Corbel" pitchFamily="34" charset="0"/>
        </a:defRPr>
      </a:lvl9pPr>
    </p:titleStyle>
    <p:bodyStyle>
      <a:lvl1pPr marL="228600" indent="-228600" algn="l" rtl="0" eaLnBrk="0" fontAlgn="base" hangingPunct="0">
        <a:spcBef>
          <a:spcPts val="1000"/>
        </a:spcBef>
        <a:spcAft>
          <a:spcPct val="0"/>
        </a:spcAft>
        <a:buClr>
          <a:schemeClr val="accent2"/>
        </a:buClr>
        <a:buFont typeface="Arial" pitchFamily="34" charset="0"/>
        <a:buChar char="•"/>
        <a:defRPr kern="1200">
          <a:solidFill>
            <a:srgbClr val="262626"/>
          </a:solidFill>
          <a:latin typeface="+mn-lt"/>
          <a:ea typeface="+mn-ea"/>
          <a:cs typeface="+mn-cs"/>
        </a:defRPr>
      </a:lvl1pPr>
      <a:lvl2pPr marL="457200" indent="-228600" algn="l" rtl="0" eaLnBrk="0" fontAlgn="base" hangingPunct="0">
        <a:spcBef>
          <a:spcPts val="1000"/>
        </a:spcBef>
        <a:spcAft>
          <a:spcPct val="0"/>
        </a:spcAft>
        <a:buClr>
          <a:schemeClr val="accent2"/>
        </a:buClr>
        <a:buFont typeface="Arial" pitchFamily="34" charset="0"/>
        <a:buChar char="•"/>
        <a:defRPr sz="1600" kern="1200">
          <a:solidFill>
            <a:srgbClr val="262626"/>
          </a:solidFill>
          <a:latin typeface="+mn-lt"/>
          <a:ea typeface="+mn-ea"/>
          <a:cs typeface="+mn-cs"/>
        </a:defRPr>
      </a:lvl2pPr>
      <a:lvl3pPr marL="685800" indent="-228600" algn="l" rtl="0" eaLnBrk="0" fontAlgn="base" hangingPunct="0">
        <a:spcBef>
          <a:spcPts val="1000"/>
        </a:spcBef>
        <a:spcAft>
          <a:spcPct val="0"/>
        </a:spcAft>
        <a:buClr>
          <a:schemeClr val="accent2"/>
        </a:buClr>
        <a:buFont typeface="Arial" pitchFamily="34" charset="0"/>
        <a:buChar char="•"/>
        <a:defRPr sz="1600" kern="1200">
          <a:solidFill>
            <a:srgbClr val="262626"/>
          </a:solidFill>
          <a:latin typeface="+mn-lt"/>
          <a:ea typeface="+mn-ea"/>
          <a:cs typeface="+mn-cs"/>
        </a:defRPr>
      </a:lvl3pPr>
      <a:lvl4pPr marL="914400" indent="-228600" algn="l" rtl="0" eaLnBrk="0" fontAlgn="base" hangingPunct="0">
        <a:spcBef>
          <a:spcPts val="1000"/>
        </a:spcBef>
        <a:spcAft>
          <a:spcPct val="0"/>
        </a:spcAft>
        <a:buClr>
          <a:schemeClr val="accent2"/>
        </a:buClr>
        <a:buFont typeface="Arial" pitchFamily="34" charset="0"/>
        <a:buChar char="•"/>
        <a:defRPr sz="1600" kern="1200">
          <a:solidFill>
            <a:srgbClr val="262626"/>
          </a:solidFill>
          <a:latin typeface="+mn-lt"/>
          <a:ea typeface="+mn-ea"/>
          <a:cs typeface="+mn-cs"/>
        </a:defRPr>
      </a:lvl4pPr>
      <a:lvl5pPr marL="1143000" indent="-228600" algn="l" rtl="0" eaLnBrk="0" fontAlgn="base" hangingPunct="0">
        <a:spcBef>
          <a:spcPts val="1000"/>
        </a:spcBef>
        <a:spcAft>
          <a:spcPct val="0"/>
        </a:spcAft>
        <a:buClr>
          <a:schemeClr val="accent2"/>
        </a:buClr>
        <a:buFont typeface="Arial" pitchFamily="34" charset="0"/>
        <a:buChar char="•"/>
        <a:defRPr sz="1600" kern="1200">
          <a:solidFill>
            <a:srgbClr val="262626"/>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754047957"/>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19">
            <a:extLst>
              <a:ext uri="{28A0092B-C50C-407E-A947-70E740481C1C}">
                <a14:useLocalDpi xmlns:a14="http://schemas.microsoft.com/office/drawing/2010/main" val="0"/>
              </a:ext>
            </a:extLst>
          </a:blip>
          <a:srcRect l="3613"/>
          <a:stretch/>
        </p:blipFill>
        <p:spPr>
          <a:xfrm>
            <a:off x="0" y="2669685"/>
            <a:ext cx="4037012" cy="4188315"/>
          </a:xfrm>
          <a:prstGeom prst="rect">
            <a:avLst/>
          </a:prstGeom>
        </p:spPr>
      </p:pic>
      <p:pic>
        <p:nvPicPr>
          <p:cNvPr id="7" name="Picture 6"/>
          <p:cNvPicPr>
            <a:picLocks noChangeAspect="1"/>
          </p:cNvPicPr>
          <p:nvPr/>
        </p:nvPicPr>
        <p:blipFill rotWithShape="1">
          <a:blip r:embed="rId20">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16" name="Oval 15"/>
          <p:cNvSpPr/>
          <p:nvPr/>
        </p:nvSpPr>
        <p:spPr>
          <a:xfrm>
            <a:off x="860901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9" name="Picture 8"/>
          <p:cNvPicPr>
            <a:picLocks noChangeAspect="1"/>
          </p:cNvPicPr>
          <p:nvPr/>
        </p:nvPicPr>
        <p:blipFill rotWithShape="1">
          <a:blip r:embed="rId21">
            <a:extLst>
              <a:ext uri="{28A0092B-C50C-407E-A947-70E740481C1C}">
                <a14:useLocalDpi xmlns:a14="http://schemas.microsoft.com/office/drawing/2010/main" val="0"/>
              </a:ext>
            </a:extLst>
          </a:blip>
          <a:srcRect t="28813"/>
          <a:stretch/>
        </p:blipFill>
        <p:spPr>
          <a:xfrm>
            <a:off x="7999412" y="0"/>
            <a:ext cx="1603387" cy="1141407"/>
          </a:xfrm>
          <a:prstGeom prst="rect">
            <a:avLst/>
          </a:prstGeom>
        </p:spPr>
      </p:pic>
      <p:pic>
        <p:nvPicPr>
          <p:cNvPr id="10" name="Picture 9"/>
          <p:cNvPicPr>
            <a:picLocks noChangeAspect="1"/>
          </p:cNvPicPr>
          <p:nvPr/>
        </p:nvPicPr>
        <p:blipFill rotWithShape="1">
          <a:blip r:embed="rId22">
            <a:extLst>
              <a:ext uri="{28A0092B-C50C-407E-A947-70E740481C1C}">
                <a14:useLocalDpi xmlns:a14="http://schemas.microsoft.com/office/drawing/2010/main" val="0"/>
              </a:ext>
            </a:extLst>
          </a:blip>
          <a:srcRect b="23320"/>
          <a:stretch/>
        </p:blipFill>
        <p:spPr>
          <a:xfrm>
            <a:off x="8605878" y="6096000"/>
            <a:ext cx="993734" cy="762000"/>
          </a:xfrm>
          <a:prstGeom prst="rect">
            <a:avLst/>
          </a:prstGeom>
        </p:spPr>
      </p:pic>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1" y="452718"/>
            <a:ext cx="9404723" cy="1400530"/>
          </a:xfrm>
          <a:prstGeom prst="rect">
            <a:avLst/>
          </a:prstGeom>
        </p:spPr>
        <p:txBody>
          <a:bodyPr vert="horz" lIns="91440" tIns="45720" rIns="91440" bIns="45720" rtlCol="0" anchor="t">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rot="5400000">
            <a:off x="10155639" y="1790701"/>
            <a:ext cx="990599" cy="30479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B4C71EC6-210F-42DE-9C53-41977AD35B3D}" type="datetimeFigureOut">
              <a:rPr lang="ru-RU" smtClean="0"/>
              <a:t>16.12.2021</a:t>
            </a:fld>
            <a:endParaRPr lang="ru-RU"/>
          </a:p>
        </p:txBody>
      </p:sp>
      <p:sp>
        <p:nvSpPr>
          <p:cNvPr id="5" name="Footer Placeholder 4"/>
          <p:cNvSpPr>
            <a:spLocks noGrp="1"/>
          </p:cNvSpPr>
          <p:nvPr>
            <p:ph type="ftr" sz="quarter" idx="3"/>
          </p:nvPr>
        </p:nvSpPr>
        <p:spPr>
          <a:xfrm rot="5400000">
            <a:off x="8951573" y="3225297"/>
            <a:ext cx="3859795" cy="304801"/>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ru-RU"/>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tx1">
                    <a:tint val="75000"/>
                  </a:schemeClr>
                </a:solidFill>
              </a:defRPr>
            </a:lvl1pPr>
          </a:lstStyle>
          <a:p>
            <a:fld id="{B19B0651-EE4F-4900-A07F-96A6BFA9D0F0}" type="slidenum">
              <a:rPr lang="ru-RU" smtClean="0"/>
              <a:t>‹#›</a:t>
            </a:fld>
            <a:endParaRPr lang="ru-RU"/>
          </a:p>
        </p:txBody>
      </p:sp>
    </p:spTree>
    <p:extLst>
      <p:ext uri="{BB962C8B-B14F-4D97-AF65-F5344CB8AC3E}">
        <p14:creationId xmlns:p14="http://schemas.microsoft.com/office/powerpoint/2010/main" val="863763296"/>
      </p:ext>
    </p:extLst>
  </p:cSld>
  <p:clrMap bg1="dk1" tx1="lt1" bg2="dk2" tx2="lt2" accent1="accent1" accent2="accent2" accent3="accent3" accent4="accent4" accent5="accent5" accent6="accent6" hlink="hlink" folHlink="folHlink"/>
  <p:sldLayoutIdLst>
    <p:sldLayoutId id="2147484208" r:id="rId1"/>
    <p:sldLayoutId id="2147484209" r:id="rId2"/>
    <p:sldLayoutId id="2147484210" r:id="rId3"/>
    <p:sldLayoutId id="2147484211" r:id="rId4"/>
    <p:sldLayoutId id="2147484212" r:id="rId5"/>
    <p:sldLayoutId id="2147484213" r:id="rId6"/>
    <p:sldLayoutId id="2147484214" r:id="rId7"/>
    <p:sldLayoutId id="2147484215" r:id="rId8"/>
    <p:sldLayoutId id="2147484216" r:id="rId9"/>
    <p:sldLayoutId id="2147484217" r:id="rId10"/>
    <p:sldLayoutId id="2147484218" r:id="rId11"/>
    <p:sldLayoutId id="2147484219" r:id="rId12"/>
    <p:sldLayoutId id="2147484220" r:id="rId13"/>
    <p:sldLayoutId id="2147484221" r:id="rId14"/>
    <p:sldLayoutId id="2147484222" r:id="rId15"/>
    <p:sldLayoutId id="2147484223" r:id="rId16"/>
    <p:sldLayoutId id="2147484224" r:id="rId17"/>
  </p:sldLayoutIdLst>
  <p:transition spd="med">
    <p:fade/>
  </p:transition>
  <p:timing>
    <p:tnLst>
      <p:par>
        <p:cTn id="1" dur="indefinite" restart="never" nodeType="tmRoot"/>
      </p:par>
    </p:tnLst>
  </p:timing>
  <p:txStyles>
    <p:title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19">
            <a:extLst>
              <a:ext uri="{28A0092B-C50C-407E-A947-70E740481C1C}">
                <a14:useLocalDpi xmlns:a14="http://schemas.microsoft.com/office/drawing/2010/main" val="0"/>
              </a:ext>
            </a:extLst>
          </a:blip>
          <a:srcRect l="3613"/>
          <a:stretch/>
        </p:blipFill>
        <p:spPr>
          <a:xfrm>
            <a:off x="0" y="2669685"/>
            <a:ext cx="4037012" cy="4188315"/>
          </a:xfrm>
          <a:prstGeom prst="rect">
            <a:avLst/>
          </a:prstGeom>
        </p:spPr>
      </p:pic>
      <p:pic>
        <p:nvPicPr>
          <p:cNvPr id="7" name="Picture 6"/>
          <p:cNvPicPr>
            <a:picLocks noChangeAspect="1"/>
          </p:cNvPicPr>
          <p:nvPr/>
        </p:nvPicPr>
        <p:blipFill rotWithShape="1">
          <a:blip r:embed="rId20">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16" name="Oval 15"/>
          <p:cNvSpPr/>
          <p:nvPr/>
        </p:nvSpPr>
        <p:spPr>
          <a:xfrm>
            <a:off x="8609012" y="1676400"/>
            <a:ext cx="2819400" cy="281940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9" name="Picture 8"/>
          <p:cNvPicPr>
            <a:picLocks noChangeAspect="1"/>
          </p:cNvPicPr>
          <p:nvPr/>
        </p:nvPicPr>
        <p:blipFill rotWithShape="1">
          <a:blip r:embed="rId21">
            <a:extLst>
              <a:ext uri="{28A0092B-C50C-407E-A947-70E740481C1C}">
                <a14:useLocalDpi xmlns:a14="http://schemas.microsoft.com/office/drawing/2010/main" val="0"/>
              </a:ext>
            </a:extLst>
          </a:blip>
          <a:srcRect t="28813"/>
          <a:stretch/>
        </p:blipFill>
        <p:spPr>
          <a:xfrm>
            <a:off x="7999412" y="0"/>
            <a:ext cx="1603387" cy="1141407"/>
          </a:xfrm>
          <a:prstGeom prst="rect">
            <a:avLst/>
          </a:prstGeom>
        </p:spPr>
      </p:pic>
      <p:pic>
        <p:nvPicPr>
          <p:cNvPr id="10" name="Picture 9"/>
          <p:cNvPicPr>
            <a:picLocks noChangeAspect="1"/>
          </p:cNvPicPr>
          <p:nvPr/>
        </p:nvPicPr>
        <p:blipFill rotWithShape="1">
          <a:blip r:embed="rId22">
            <a:extLst>
              <a:ext uri="{28A0092B-C50C-407E-A947-70E740481C1C}">
                <a14:useLocalDpi xmlns:a14="http://schemas.microsoft.com/office/drawing/2010/main" val="0"/>
              </a:ext>
            </a:extLst>
          </a:blip>
          <a:srcRect b="23320"/>
          <a:stretch/>
        </p:blipFill>
        <p:spPr>
          <a:xfrm>
            <a:off x="8605878" y="6096000"/>
            <a:ext cx="993734" cy="762000"/>
          </a:xfrm>
          <a:prstGeom prst="rect">
            <a:avLst/>
          </a:prstGeom>
        </p:spPr>
      </p:pic>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1" y="452718"/>
            <a:ext cx="9404723" cy="1400530"/>
          </a:xfrm>
          <a:prstGeom prst="rect">
            <a:avLst/>
          </a:prstGeom>
        </p:spPr>
        <p:txBody>
          <a:bodyPr vert="horz" lIns="91440" tIns="45720" rIns="91440" bIns="45720" rtlCol="0" anchor="t">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rot="5400000">
            <a:off x="10155639" y="1790701"/>
            <a:ext cx="990599" cy="30479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B4C71EC6-210F-42DE-9C53-41977AD35B3D}" type="datetimeFigureOut">
              <a:rPr lang="ru-RU" smtClean="0"/>
              <a:t>16.12.2021</a:t>
            </a:fld>
            <a:endParaRPr lang="ru-RU"/>
          </a:p>
        </p:txBody>
      </p:sp>
      <p:sp>
        <p:nvSpPr>
          <p:cNvPr id="5" name="Footer Placeholder 4"/>
          <p:cNvSpPr>
            <a:spLocks noGrp="1"/>
          </p:cNvSpPr>
          <p:nvPr>
            <p:ph type="ftr" sz="quarter" idx="3"/>
          </p:nvPr>
        </p:nvSpPr>
        <p:spPr>
          <a:xfrm rot="5400000">
            <a:off x="8951573" y="3225297"/>
            <a:ext cx="3859795" cy="304801"/>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ru-RU"/>
          </a:p>
        </p:txBody>
      </p:sp>
      <p:sp>
        <p:nvSpPr>
          <p:cNvPr id="6" name="Slide Number Placeholder 5"/>
          <p:cNvSpPr>
            <a:spLocks noGrp="1"/>
          </p:cNvSpPr>
          <p:nvPr>
            <p:ph type="sldNum" sz="quarter" idx="4"/>
          </p:nvPr>
        </p:nvSpPr>
        <p:spPr bwMode="gray">
          <a:xfrm>
            <a:off x="10352540" y="295729"/>
            <a:ext cx="838199" cy="767687"/>
          </a:xfrm>
          <a:prstGeom prst="rect">
            <a:avLst/>
          </a:prstGeom>
        </p:spPr>
        <p:txBody>
          <a:bodyPr vert="horz" lIns="91440" tIns="45720" rIns="91440" bIns="45720" rtlCol="0" anchor="b"/>
          <a:lstStyle>
            <a:lvl1pPr algn="ctr">
              <a:defRPr sz="2800" b="0" i="0">
                <a:solidFill>
                  <a:schemeClr val="tx1">
                    <a:tint val="75000"/>
                  </a:schemeClr>
                </a:solidFill>
              </a:defRPr>
            </a:lvl1pPr>
          </a:lstStyle>
          <a:p>
            <a:fld id="{B19B0651-EE4F-4900-A07F-96A6BFA9D0F0}" type="slidenum">
              <a:rPr lang="ru-RU" smtClean="0"/>
              <a:t>‹#›</a:t>
            </a:fld>
            <a:endParaRPr lang="ru-RU"/>
          </a:p>
        </p:txBody>
      </p:sp>
    </p:spTree>
    <p:extLst>
      <p:ext uri="{BB962C8B-B14F-4D97-AF65-F5344CB8AC3E}">
        <p14:creationId xmlns:p14="http://schemas.microsoft.com/office/powerpoint/2010/main" val="4161285288"/>
      </p:ext>
    </p:extLst>
  </p:cSld>
  <p:clrMap bg1="dk1" tx1="lt1" bg2="dk2" tx2="lt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Lst>
  <p:transition spd="med">
    <p:fade/>
  </p:transition>
  <p:timing>
    <p:tnLst>
      <p:par>
        <p:cTn id="1" dur="indefinite" restart="never" nodeType="tmRoot"/>
      </p:par>
    </p:tnLst>
  </p:timing>
  <p:txStyles>
    <p:title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flip="none" rotWithShape="1">
          <a:gsLst>
            <a:gs pos="75000">
              <a:schemeClr val="bg1"/>
            </a:gs>
            <a:gs pos="93000">
              <a:schemeClr val="accent1"/>
            </a:gs>
            <a:gs pos="99000">
              <a:srgbClr val="4DCCF2"/>
            </a:gs>
            <a:gs pos="97000">
              <a:schemeClr val="bg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13314" name="Заголовок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3315" name="Текст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4" name="Дата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prstClr val="black">
                    <a:tint val="75000"/>
                  </a:prstClr>
                </a:solidFill>
                <a:latin typeface="Calibri"/>
                <a:cs typeface="+mn-cs"/>
              </a:defRPr>
            </a:lvl1pPr>
          </a:lstStyle>
          <a:p>
            <a:pPr>
              <a:defRPr/>
            </a:pPr>
            <a:fld id="{8B6FCACF-9C68-4605-BD93-D6EB3D52696A}" type="datetimeFigureOut">
              <a:rPr lang="ru-RU"/>
              <a:pPr>
                <a:defRPr/>
              </a:pPr>
              <a:t>16.12.2021</a:t>
            </a:fld>
            <a:endParaRPr lang="ru-RU"/>
          </a:p>
        </p:txBody>
      </p:sp>
      <p:sp>
        <p:nvSpPr>
          <p:cNvPr id="5" name="Нижний колонтитул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prstClr val="black">
                    <a:tint val="75000"/>
                  </a:prstClr>
                </a:solidFill>
                <a:latin typeface="Calibri"/>
                <a:cs typeface="+mn-cs"/>
              </a:defRPr>
            </a:lvl1pPr>
          </a:lstStyle>
          <a:p>
            <a:pPr>
              <a:defRPr/>
            </a:pPr>
            <a:endParaRPr lang="ru-RU"/>
          </a:p>
        </p:txBody>
      </p:sp>
      <p:sp>
        <p:nvSpPr>
          <p:cNvPr id="6" name="Номер слайда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prstClr val="black">
                    <a:tint val="75000"/>
                  </a:prstClr>
                </a:solidFill>
                <a:latin typeface="Calibri"/>
                <a:cs typeface="+mn-cs"/>
              </a:defRPr>
            </a:lvl1pPr>
          </a:lstStyle>
          <a:p>
            <a:pPr>
              <a:defRPr/>
            </a:pPr>
            <a:fld id="{AA4129C0-D171-4D7C-BDA8-3D177B362273}" type="slidenum">
              <a:rPr lang="ru-RU"/>
              <a:pPr>
                <a:defRPr/>
              </a:pPr>
              <a:t>‹#›</a:t>
            </a:fld>
            <a:endParaRPr lang="ru-RU"/>
          </a:p>
        </p:txBody>
      </p:sp>
    </p:spTree>
    <p:extLst>
      <p:ext uri="{BB962C8B-B14F-4D97-AF65-F5344CB8AC3E}">
        <p14:creationId xmlns:p14="http://schemas.microsoft.com/office/powerpoint/2010/main" val="549768855"/>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4339"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defRPr>
            </a:lvl1pPr>
          </a:lstStyle>
          <a:p>
            <a:pPr fontAlgn="base">
              <a:spcBef>
                <a:spcPct val="0"/>
              </a:spcBef>
              <a:spcAft>
                <a:spcPct val="0"/>
              </a:spcAft>
              <a:defRPr/>
            </a:pPr>
            <a:endParaRPr lang="ru-RU"/>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defRPr>
            </a:lvl1pPr>
          </a:lstStyle>
          <a:p>
            <a:pPr fontAlgn="base">
              <a:spcBef>
                <a:spcPct val="0"/>
              </a:spcBef>
              <a:spcAft>
                <a:spcPct val="0"/>
              </a:spcAft>
              <a:defRPr/>
            </a:pPr>
            <a:endParaRPr lang="ru-RU"/>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defRPr>
            </a:lvl1pPr>
          </a:lstStyle>
          <a:p>
            <a:pPr fontAlgn="base">
              <a:spcBef>
                <a:spcPct val="0"/>
              </a:spcBef>
              <a:spcAft>
                <a:spcPct val="0"/>
              </a:spcAft>
              <a:defRPr/>
            </a:pPr>
            <a:fld id="{E0140243-DDAC-405C-B3F0-3FAD0534494F}"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val="292457126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4223107406"/>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3312031369"/>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302258159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3978689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ru-RU">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ru-RU">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B2222AEE-C5B1-48DF-8218-9DB23DF09D65}" type="slidenum">
              <a:rPr lang="ru-RU">
                <a:solidFill>
                  <a:srgbClr val="000000"/>
                </a:solidFill>
              </a:rPr>
              <a:pPr fontAlgn="base">
                <a:spcBef>
                  <a:spcPct val="0"/>
                </a:spcBef>
                <a:spcAft>
                  <a:spcPct val="0"/>
                </a:spcAft>
                <a:defRPr/>
              </a:pPr>
              <a:t>‹#›</a:t>
            </a:fld>
            <a:endParaRPr lang="ru-RU">
              <a:solidFill>
                <a:srgbClr val="000000"/>
              </a:solidFill>
            </a:endParaRPr>
          </a:p>
        </p:txBody>
      </p:sp>
    </p:spTree>
    <p:extLst>
      <p:ext uri="{BB962C8B-B14F-4D97-AF65-F5344CB8AC3E}">
        <p14:creationId xmlns:p14="http://schemas.microsoft.com/office/powerpoint/2010/main" val="1246700355"/>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hyperlink" Target="http://images.yandex.ru/search?p=3&amp;ed=1&amp;text=%D1%81%D0%B5%D0%BC%D1%8C%D1%8F&amp;spsite=fake-019-242907.ru&amp;img_url=a-lepota.narod.ru/images/4b0fba7ac9287_20091127.jpg&amp;rpt=simage" TargetMode="External"/></Relationships>
</file>

<file path=ppt/slides/_rels/slide10.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Layout" Target="../slideLayouts/slideLayout198.xml"/></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219.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219.xml"/><Relationship Id="rId4" Type="http://schemas.openxmlformats.org/officeDocument/2006/relationships/image" Target="../media/image22.jpeg"/></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6.xml"/><Relationship Id="rId1" Type="http://schemas.openxmlformats.org/officeDocument/2006/relationships/slideLayout" Target="../slideLayouts/slideLayout237.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Layout" Target="../slideLayouts/slideLayout278.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83.xml"/></Relationships>
</file>

<file path=ppt/slides/_rels/slide1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505.xml"/><Relationship Id="rId4" Type="http://schemas.openxmlformats.org/officeDocument/2006/relationships/image" Target="../media/image29.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99.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notesSlide" Target="../notesSlides/notesSlide11.xml"/><Relationship Id="rId1" Type="http://schemas.openxmlformats.org/officeDocument/2006/relationships/slideLayout" Target="../slideLayouts/slideLayout303.xml"/><Relationship Id="rId6" Type="http://schemas.openxmlformats.org/officeDocument/2006/relationships/image" Target="../media/image33.wmf"/><Relationship Id="rId5" Type="http://schemas.openxmlformats.org/officeDocument/2006/relationships/image" Target="../media/image32.wmf"/><Relationship Id="rId4" Type="http://schemas.openxmlformats.org/officeDocument/2006/relationships/image" Target="../media/image31.wmf"/></Relationships>
</file>

<file path=ppt/slides/_rels/slide21.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slideLayout" Target="../slideLayouts/slideLayout319.xml"/><Relationship Id="rId7" Type="http://schemas.openxmlformats.org/officeDocument/2006/relationships/hyperlink" Target="http://upload.wikimedia.org/wikipedia/commons/5/55/Charlotte_Cleverley-Bisman.jpg" TargetMode="Externa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image" Target="../media/image3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41.xml"/></Relationships>
</file>

<file path=ppt/slides/_rels/slide23.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jpeg"/><Relationship Id="rId7"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366.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2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4.xml"/><Relationship Id="rId1" Type="http://schemas.openxmlformats.org/officeDocument/2006/relationships/slideLayout" Target="../slideLayouts/slideLayout388.xml"/></Relationships>
</file>

<file path=ppt/slides/_rels/slide2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40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6.xml"/><Relationship Id="rId1" Type="http://schemas.openxmlformats.org/officeDocument/2006/relationships/slideLayout" Target="../slideLayouts/slideLayout424.xml"/><Relationship Id="rId4" Type="http://schemas.openxmlformats.org/officeDocument/2006/relationships/image" Target="../media/image46.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30.xml"/></Relationships>
</file>

<file path=ppt/slides/_rels/slide29.xml.rels><?xml version="1.0" encoding="UTF-8" standalone="yes"?>
<Relationships xmlns="http://schemas.openxmlformats.org/package/2006/relationships"><Relationship Id="rId8" Type="http://schemas.openxmlformats.org/officeDocument/2006/relationships/oleObject" Target="../embeddings/_____Microsoft_Excel_97-20033.xls"/><Relationship Id="rId3" Type="http://schemas.openxmlformats.org/officeDocument/2006/relationships/image" Target="../media/image50.png"/><Relationship Id="rId7" Type="http://schemas.openxmlformats.org/officeDocument/2006/relationships/image" Target="../media/image48.png"/><Relationship Id="rId2" Type="http://schemas.openxmlformats.org/officeDocument/2006/relationships/slideLayout" Target="../slideLayouts/slideLayout473.xml"/><Relationship Id="rId1" Type="http://schemas.openxmlformats.org/officeDocument/2006/relationships/vmlDrawing" Target="../drawings/vmlDrawing4.vml"/><Relationship Id="rId6" Type="http://schemas.openxmlformats.org/officeDocument/2006/relationships/oleObject" Target="../embeddings/_____Microsoft_Excel_97-20032.xls"/><Relationship Id="rId5" Type="http://schemas.openxmlformats.org/officeDocument/2006/relationships/image" Target="../media/image47.png"/><Relationship Id="rId10" Type="http://schemas.openxmlformats.org/officeDocument/2006/relationships/chart" Target="../charts/chart1.xml"/><Relationship Id="rId4" Type="http://schemas.openxmlformats.org/officeDocument/2006/relationships/oleObject" Target="../embeddings/_____Microsoft_Excel_97-20031.xls"/><Relationship Id="rId9" Type="http://schemas.openxmlformats.org/officeDocument/2006/relationships/image" Target="../media/image4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0.xml.rels><?xml version="1.0" encoding="UTF-8" standalone="yes"?>
<Relationships xmlns="http://schemas.openxmlformats.org/package/2006/relationships"><Relationship Id="rId8" Type="http://schemas.openxmlformats.org/officeDocument/2006/relationships/hyperlink" Target="http://www.who.int/en/" TargetMode="External"/><Relationship Id="rId3" Type="http://schemas.openxmlformats.org/officeDocument/2006/relationships/image" Target="../media/image51.jpeg"/><Relationship Id="rId7" Type="http://schemas.openxmlformats.org/officeDocument/2006/relationships/image" Target="http://im4-tub.mail.ru/i?id=11094067&amp;tov=4" TargetMode="External"/><Relationship Id="rId2" Type="http://schemas.openxmlformats.org/officeDocument/2006/relationships/hyperlink" Target="http://go.mail.ru/frame.html?imgurl=http://www.mama.ru/images/144660_9.1168245684.73742.jpg&amp;pageurl=http://www.mama.ru/articles/108/144660/?prn=1&amp;id=30566393&amp;iid=0&amp;imgwidth=300&amp;imgheight=200&amp;imgsize=13192&amp;images_links=b" TargetMode="External"/><Relationship Id="rId1" Type="http://schemas.openxmlformats.org/officeDocument/2006/relationships/slideLayout" Target="../slideLayouts/slideLayout484.xml"/><Relationship Id="rId6" Type="http://schemas.openxmlformats.org/officeDocument/2006/relationships/image" Target="../media/image52.jpeg"/><Relationship Id="rId11" Type="http://schemas.openxmlformats.org/officeDocument/2006/relationships/image" Target="../media/image54.jpeg"/><Relationship Id="rId5" Type="http://schemas.openxmlformats.org/officeDocument/2006/relationships/hyperlink" Target="http://go.mail.ru/frame.html?imgurl=http://tvoymalysh.com.ua/images/1/allergia_new1.jpg&amp;pageurl=http://www.dmytrenko.in.ua/Pediatria/Voprosi%20zdorovia/0-1%20god/Allergia.html&amp;id=11094067&amp;iid=4&amp;imgwidth=250&amp;imgheight=353&amp;imgsize=16047&amp;images_links=b" TargetMode="External"/><Relationship Id="rId10" Type="http://schemas.openxmlformats.org/officeDocument/2006/relationships/hyperlink" Target="http://go.mail.ru/frame.html?&amp;imgurl=http://free-minute.ucoz.ru/_ph/8/2/413469975.jpg&amp;pageurl=http://www.vecherka.ru/natroih/1874&amp;id=99139890&amp;iid=6&amp;imgwidth=250&amp;imgheight=187&amp;imgsize=30666" TargetMode="External"/><Relationship Id="rId4" Type="http://schemas.openxmlformats.org/officeDocument/2006/relationships/image" Target="http://im0-tub.mail.ru/i?id=30566393&amp;tov=0" TargetMode="External"/><Relationship Id="rId9" Type="http://schemas.openxmlformats.org/officeDocument/2006/relationships/image" Target="../media/image53.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82.xml"/></Relationships>
</file>

<file path=ppt/slides/_rels/slide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8.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4.xml"/><Relationship Id="rId1" Type="http://schemas.openxmlformats.org/officeDocument/2006/relationships/slideLayout" Target="../slideLayouts/slideLayout155.xml"/><Relationship Id="rId5" Type="http://schemas.openxmlformats.org/officeDocument/2006/relationships/image" Target="../media/image16.png"/><Relationship Id="rId4" Type="http://schemas.openxmlformats.org/officeDocument/2006/relationships/image" Target="../media/image15.w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3714" name="Picture 4"/>
          <p:cNvPicPr>
            <a:picLocks noChangeAspect="1" noChangeArrowheads="1"/>
          </p:cNvPicPr>
          <p:nvPr/>
        </p:nvPicPr>
        <p:blipFill>
          <a:blip r:embed="rId3">
            <a:lum contrast="10000"/>
            <a:extLst>
              <a:ext uri="{28A0092B-C50C-407E-A947-70E740481C1C}">
                <a14:useLocalDpi xmlns:a14="http://schemas.microsoft.com/office/drawing/2010/main" val="0"/>
              </a:ext>
            </a:extLst>
          </a:blip>
          <a:srcRect/>
          <a:stretch>
            <a:fillRect/>
          </a:stretch>
        </p:blipFill>
        <p:spPr bwMode="auto">
          <a:xfrm>
            <a:off x="9286876" y="567387"/>
            <a:ext cx="25146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txBox="1">
            <a:spLocks noChangeArrowheads="1"/>
          </p:cNvSpPr>
          <p:nvPr/>
        </p:nvSpPr>
        <p:spPr>
          <a:xfrm>
            <a:off x="1828800" y="152401"/>
            <a:ext cx="6324600" cy="3097213"/>
          </a:xfrm>
          <a:prstGeom prst="rect">
            <a:avLst/>
          </a:prstGeom>
        </p:spPr>
        <p:txBody>
          <a:bodyPr anchor="ctr">
            <a:normAutofit/>
          </a:bodyPr>
          <a:lstStyle/>
          <a:p>
            <a:pPr algn="r" fontAlgn="base">
              <a:spcBef>
                <a:spcPct val="0"/>
              </a:spcBef>
              <a:spcAft>
                <a:spcPct val="0"/>
              </a:spcAft>
              <a:defRPr/>
            </a:pPr>
            <a:endParaRPr lang="ru-RU" sz="4000" b="1" dirty="0">
              <a:solidFill>
                <a:srgbClr val="C00000"/>
              </a:solidFill>
              <a:effectLst>
                <a:outerShdw blurRad="38100" dist="38100" dir="2700000" algn="tl">
                  <a:srgbClr val="C0C0C0"/>
                </a:outerShdw>
              </a:effectLst>
              <a:latin typeface="Tahoma" pitchFamily="34" charset="0"/>
              <a:cs typeface="Tahoma" pitchFamily="34" charset="0"/>
            </a:endParaRPr>
          </a:p>
        </p:txBody>
      </p:sp>
      <p:sp>
        <p:nvSpPr>
          <p:cNvPr id="243716" name="Подзаголовок 2"/>
          <p:cNvSpPr txBox="1">
            <a:spLocks/>
          </p:cNvSpPr>
          <p:nvPr/>
        </p:nvSpPr>
        <p:spPr bwMode="auto">
          <a:xfrm>
            <a:off x="1828801" y="5805488"/>
            <a:ext cx="8715375" cy="1052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ctr" fontAlgn="base">
              <a:spcBef>
                <a:spcPct val="20000"/>
              </a:spcBef>
              <a:spcAft>
                <a:spcPct val="0"/>
              </a:spcAft>
            </a:pPr>
            <a:r>
              <a:rPr lang="ru-RU" altLang="ru-RU" sz="2400" b="1">
                <a:solidFill>
                  <a:srgbClr val="000066"/>
                </a:solidFill>
                <a:latin typeface="Tahoma" pitchFamily="34" charset="0"/>
                <a:cs typeface="Tahoma" pitchFamily="34" charset="0"/>
              </a:rPr>
              <a:t>С.М.Колесникова – зав. каф. педиатрии и неонатологии, главный внештатный педиатр МЗХК</a:t>
            </a:r>
          </a:p>
        </p:txBody>
      </p:sp>
      <p:pic>
        <p:nvPicPr>
          <p:cNvPr id="243717" name="Picture 7" descr="i?id=143638506&amp;tov=8">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54066" y="2492896"/>
            <a:ext cx="3787847" cy="3129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3718" name="Picture 4" descr="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376" y="2636912"/>
            <a:ext cx="4021357" cy="2938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Прямоугольник 1"/>
          <p:cNvSpPr/>
          <p:nvPr/>
        </p:nvSpPr>
        <p:spPr>
          <a:xfrm>
            <a:off x="623392" y="533401"/>
            <a:ext cx="8663484" cy="1446550"/>
          </a:xfrm>
          <a:prstGeom prst="rect">
            <a:avLst/>
          </a:prstGeom>
        </p:spPr>
        <p:txBody>
          <a:bodyPr wrap="square">
            <a:spAutoFit/>
          </a:bodyPr>
          <a:lstStyle/>
          <a:p>
            <a:pPr algn="ctr" eaLnBrk="0" fontAlgn="base" hangingPunct="0">
              <a:spcBef>
                <a:spcPct val="20000"/>
              </a:spcBef>
              <a:spcAft>
                <a:spcPct val="0"/>
              </a:spcAft>
              <a:defRPr/>
            </a:pPr>
            <a:r>
              <a:rPr lang="ru-RU" sz="4400" dirty="0">
                <a:solidFill>
                  <a:srgbClr val="FF0000"/>
                </a:solidFill>
                <a:latin typeface="Times New Roman"/>
              </a:rPr>
              <a:t>О вакцинопрофилактике в сфере охраны здоровья детей</a:t>
            </a:r>
            <a:endParaRPr lang="ru-RU" sz="4400" kern="0" dirty="0">
              <a:solidFill>
                <a:srgbClr val="000000"/>
              </a:solidFill>
            </a:endParaRPr>
          </a:p>
        </p:txBody>
      </p:sp>
    </p:spTree>
    <p:extLst>
      <p:ext uri="{BB962C8B-B14F-4D97-AF65-F5344CB8AC3E}">
        <p14:creationId xmlns:p14="http://schemas.microsoft.com/office/powerpoint/2010/main" val="399219416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Rectangle 2"/>
          <p:cNvSpPr>
            <a:spLocks noGrp="1" noChangeArrowheads="1"/>
          </p:cNvSpPr>
          <p:nvPr>
            <p:ph type="title" idx="4294967295"/>
          </p:nvPr>
        </p:nvSpPr>
        <p:spPr/>
        <p:txBody>
          <a:bodyPr/>
          <a:lstStyle/>
          <a:p>
            <a:pPr eaLnBrk="1" hangingPunct="1"/>
            <a:r>
              <a:rPr lang="ru-RU" altLang="ru-RU" b="1" u="sng" smtClean="0">
                <a:solidFill>
                  <a:srgbClr val="800000"/>
                </a:solidFill>
              </a:rPr>
              <a:t>Достоинства вакцинации против туберкулеза:</a:t>
            </a:r>
          </a:p>
        </p:txBody>
      </p:sp>
      <p:sp>
        <p:nvSpPr>
          <p:cNvPr id="252931" name="Rectangle 3"/>
          <p:cNvSpPr>
            <a:spLocks noGrp="1" noChangeArrowheads="1"/>
          </p:cNvSpPr>
          <p:nvPr>
            <p:ph type="body" idx="4294967295"/>
          </p:nvPr>
        </p:nvSpPr>
        <p:spPr>
          <a:xfrm>
            <a:off x="479376" y="2133601"/>
            <a:ext cx="9502824" cy="4525963"/>
          </a:xfrm>
        </p:spPr>
        <p:txBody>
          <a:bodyPr/>
          <a:lstStyle/>
          <a:p>
            <a:pPr eaLnBrk="1" hangingPunct="1"/>
            <a:r>
              <a:rPr lang="ru-RU" altLang="ru-RU" b="1" dirty="0" smtClean="0">
                <a:solidFill>
                  <a:srgbClr val="800000"/>
                </a:solidFill>
              </a:rPr>
              <a:t>Ликвидация смертельных случаев туберкулеза у детей в условиях эпидемии </a:t>
            </a:r>
            <a:r>
              <a:rPr lang="ru-RU" altLang="ru-RU" b="1" dirty="0" smtClean="0">
                <a:solidFill>
                  <a:srgbClr val="800000"/>
                </a:solidFill>
              </a:rPr>
              <a:t>туберкулеза</a:t>
            </a:r>
          </a:p>
          <a:p>
            <a:pPr eaLnBrk="1" hangingPunct="1"/>
            <a:r>
              <a:rPr lang="ru-RU" altLang="ru-RU" b="1" dirty="0" smtClean="0">
                <a:solidFill>
                  <a:srgbClr val="800000"/>
                </a:solidFill>
              </a:rPr>
              <a:t>Отсутствие </a:t>
            </a:r>
            <a:r>
              <a:rPr lang="ru-RU" altLang="ru-RU" b="1" dirty="0" smtClean="0">
                <a:solidFill>
                  <a:srgbClr val="800000"/>
                </a:solidFill>
              </a:rPr>
              <a:t>роста числа  осложненных  и </a:t>
            </a:r>
            <a:r>
              <a:rPr lang="ru-RU" altLang="ru-RU" b="1" dirty="0" err="1" smtClean="0">
                <a:solidFill>
                  <a:srgbClr val="800000"/>
                </a:solidFill>
              </a:rPr>
              <a:t>генерализованных</a:t>
            </a:r>
            <a:r>
              <a:rPr lang="ru-RU" altLang="ru-RU" b="1" dirty="0" smtClean="0">
                <a:solidFill>
                  <a:srgbClr val="800000"/>
                </a:solidFill>
              </a:rPr>
              <a:t> форм туберкулеза</a:t>
            </a:r>
          </a:p>
          <a:p>
            <a:pPr eaLnBrk="1" hangingPunct="1"/>
            <a:r>
              <a:rPr lang="ru-RU" altLang="ru-RU" b="1" dirty="0" smtClean="0">
                <a:solidFill>
                  <a:srgbClr val="800000"/>
                </a:solidFill>
              </a:rPr>
              <a:t>Преобладание поражения лимфатической системы органов дыхания</a:t>
            </a:r>
            <a:r>
              <a:rPr lang="ru-RU" altLang="ru-RU" b="1" dirty="0" smtClean="0"/>
              <a:t>  </a:t>
            </a:r>
          </a:p>
          <a:p>
            <a:pPr eaLnBrk="1" hangingPunct="1"/>
            <a:endParaRPr lang="ru-RU" altLang="ru-RU" b="1" dirty="0" smtClean="0"/>
          </a:p>
          <a:p>
            <a:pPr eaLnBrk="1" hangingPunct="1"/>
            <a:endParaRPr lang="ru-RU" altLang="ru-RU" b="1" dirty="0" smtClean="0">
              <a:solidFill>
                <a:schemeClr val="accent1"/>
              </a:solidFill>
            </a:endParaRPr>
          </a:p>
        </p:txBody>
      </p:sp>
      <p:pic>
        <p:nvPicPr>
          <p:cNvPr id="252932" name="Picture 4" descr="j024071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85648" y="2924944"/>
            <a:ext cx="1066800" cy="207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72997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2"/>
          <p:cNvSpPr>
            <a:spLocks noChangeArrowheads="1"/>
          </p:cNvSpPr>
          <p:nvPr/>
        </p:nvSpPr>
        <p:spPr bwMode="auto">
          <a:xfrm>
            <a:off x="1847528" y="-29567"/>
            <a:ext cx="8109520" cy="1730375"/>
          </a:xfrm>
          <a:prstGeom prst="rect">
            <a:avLst/>
          </a:prstGeom>
          <a:solidFill>
            <a:schemeClr val="bg1"/>
          </a:solidFill>
          <a:ln w="12700">
            <a:noFill/>
            <a:miter lim="800000"/>
            <a:headEnd type="none" w="sm" len="sm"/>
            <a:tailEnd type="none" w="sm" len="sm"/>
          </a:ln>
          <a:effectLst/>
        </p:spPr>
        <p:txBody>
          <a:bodyPr lIns="81711" tIns="40855" rIns="81711" bIns="40855" anchor="ctr" anchorCtr="1"/>
          <a:lstStyle/>
          <a:p>
            <a:pPr algn="ctr" defTabSz="817563" eaLnBrk="0" fontAlgn="base" hangingPunct="0">
              <a:lnSpc>
                <a:spcPct val="90000"/>
              </a:lnSpc>
              <a:spcBef>
                <a:spcPct val="0"/>
              </a:spcBef>
              <a:spcAft>
                <a:spcPct val="0"/>
              </a:spcAft>
              <a:defRPr/>
            </a:pPr>
            <a:r>
              <a:rPr lang="ru-RU" sz="3600" b="1" dirty="0">
                <a:solidFill>
                  <a:srgbClr val="FF0000"/>
                </a:solidFill>
                <a:effectLst>
                  <a:outerShdw blurRad="38100" dist="38100" dir="2700000" algn="tl">
                    <a:srgbClr val="C0C0C0"/>
                  </a:outerShdw>
                </a:effectLst>
                <a:latin typeface="Georgia" pitchFamily="18" charset="0"/>
              </a:rPr>
              <a:t>Полиомиелит и современные подходы к его профилактике</a:t>
            </a:r>
            <a:endParaRPr lang="en-GB" sz="3600" b="1" dirty="0">
              <a:solidFill>
                <a:srgbClr val="FF0000"/>
              </a:solidFill>
              <a:effectLst>
                <a:outerShdw blurRad="38100" dist="38100" dir="2700000" algn="tl">
                  <a:srgbClr val="C0C0C0"/>
                </a:outerShdw>
              </a:effectLst>
              <a:latin typeface="Georgia" pitchFamily="18" charset="0"/>
            </a:endParaRPr>
          </a:p>
        </p:txBody>
      </p:sp>
      <p:pic>
        <p:nvPicPr>
          <p:cNvPr id="25395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9416" y="2261605"/>
            <a:ext cx="4429125" cy="312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Прямоугольник 1"/>
          <p:cNvSpPr/>
          <p:nvPr/>
        </p:nvSpPr>
        <p:spPr>
          <a:xfrm>
            <a:off x="5447928" y="1957931"/>
            <a:ext cx="6192688" cy="486287"/>
          </a:xfrm>
          <a:prstGeom prst="rect">
            <a:avLst/>
          </a:prstGeom>
        </p:spPr>
        <p:txBody>
          <a:bodyPr wrap="square">
            <a:spAutoFit/>
          </a:bodyPr>
          <a:lstStyle/>
          <a:p>
            <a:pPr algn="ctr" defTabSz="817563" eaLnBrk="0" fontAlgn="base" hangingPunct="0">
              <a:lnSpc>
                <a:spcPct val="80000"/>
              </a:lnSpc>
              <a:spcBef>
                <a:spcPct val="0"/>
              </a:spcBef>
              <a:spcAft>
                <a:spcPct val="0"/>
              </a:spcAft>
              <a:defRPr/>
            </a:pPr>
            <a:r>
              <a:rPr lang="ru-RU" sz="3200" dirty="0">
                <a:solidFill>
                  <a:srgbClr val="FF0000"/>
                </a:solidFill>
                <a:effectLst>
                  <a:outerShdw blurRad="38100" dist="38100" dir="2700000" algn="tl">
                    <a:srgbClr val="C0C0C0"/>
                  </a:outerShdw>
                </a:effectLst>
                <a:latin typeface="Georgia" pitchFamily="18" charset="0"/>
              </a:rPr>
              <a:t>ОПВ и ИПВ: иммуногенность</a:t>
            </a:r>
          </a:p>
        </p:txBody>
      </p:sp>
      <p:sp>
        <p:nvSpPr>
          <p:cNvPr id="253957" name="Прямоугольник 2"/>
          <p:cNvSpPr>
            <a:spLocks noChangeArrowheads="1"/>
          </p:cNvSpPr>
          <p:nvPr/>
        </p:nvSpPr>
        <p:spPr bwMode="auto">
          <a:xfrm>
            <a:off x="5663952" y="2701342"/>
            <a:ext cx="6120680" cy="34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fontAlgn="base">
              <a:lnSpc>
                <a:spcPct val="90000"/>
              </a:lnSpc>
              <a:spcBef>
                <a:spcPct val="0"/>
              </a:spcBef>
              <a:spcAft>
                <a:spcPct val="0"/>
              </a:spcAft>
              <a:buFontTx/>
              <a:buBlip>
                <a:blip r:embed="rId4"/>
              </a:buBlip>
            </a:pPr>
            <a:r>
              <a:rPr lang="ru-RU" altLang="ru-RU" sz="2000" b="1" dirty="0">
                <a:solidFill>
                  <a:srgbClr val="000000"/>
                </a:solidFill>
                <a:latin typeface="Georgia" pitchFamily="18" charset="0"/>
              </a:rPr>
              <a:t>Обе вакцины обладают хорошей иммуногенностью </a:t>
            </a:r>
            <a:r>
              <a:rPr lang="en-US" altLang="ru-RU" sz="2000" b="1" dirty="0">
                <a:solidFill>
                  <a:srgbClr val="000000"/>
                </a:solidFill>
                <a:latin typeface="Georgia" pitchFamily="18" charset="0"/>
              </a:rPr>
              <a:t>	</a:t>
            </a:r>
            <a:r>
              <a:rPr lang="ru-RU" altLang="ru-RU" sz="2000" b="1" dirty="0">
                <a:solidFill>
                  <a:srgbClr val="000000"/>
                </a:solidFill>
                <a:latin typeface="Georgia" pitchFamily="18" charset="0"/>
              </a:rPr>
              <a:t>и защищают от инфекции</a:t>
            </a:r>
            <a:endParaRPr lang="en-US" altLang="ru-RU" sz="2000" b="1" dirty="0">
              <a:solidFill>
                <a:srgbClr val="000000"/>
              </a:solidFill>
              <a:latin typeface="Georgia" pitchFamily="18" charset="0"/>
            </a:endParaRPr>
          </a:p>
          <a:p>
            <a:pPr fontAlgn="base">
              <a:lnSpc>
                <a:spcPct val="90000"/>
              </a:lnSpc>
              <a:spcBef>
                <a:spcPct val="0"/>
              </a:spcBef>
              <a:spcAft>
                <a:spcPct val="0"/>
              </a:spcAft>
            </a:pPr>
            <a:endParaRPr lang="en-US" altLang="ru-RU" sz="2000" b="1" dirty="0">
              <a:solidFill>
                <a:srgbClr val="000000"/>
              </a:solidFill>
              <a:latin typeface="Georgia" pitchFamily="18" charset="0"/>
            </a:endParaRPr>
          </a:p>
          <a:p>
            <a:pPr fontAlgn="base">
              <a:lnSpc>
                <a:spcPct val="90000"/>
              </a:lnSpc>
              <a:spcBef>
                <a:spcPct val="0"/>
              </a:spcBef>
              <a:spcAft>
                <a:spcPct val="0"/>
              </a:spcAft>
              <a:buFontTx/>
              <a:buBlip>
                <a:blip r:embed="rId4"/>
              </a:buBlip>
            </a:pPr>
            <a:r>
              <a:rPr lang="en-US" altLang="ru-RU" sz="2000" b="1" dirty="0">
                <a:solidFill>
                  <a:srgbClr val="000000"/>
                </a:solidFill>
                <a:latin typeface="Georgia" pitchFamily="18" charset="0"/>
              </a:rPr>
              <a:t> </a:t>
            </a:r>
            <a:r>
              <a:rPr lang="ru-RU" altLang="ru-RU" sz="2000" b="1" dirty="0">
                <a:solidFill>
                  <a:srgbClr val="000000"/>
                </a:solidFill>
                <a:latin typeface="Georgia" pitchFamily="18" charset="0"/>
              </a:rPr>
              <a:t>ИПВ – более предсказуемая и высокая </a:t>
            </a:r>
            <a:r>
              <a:rPr lang="en-US" altLang="ru-RU" sz="2000" b="1" dirty="0">
                <a:solidFill>
                  <a:srgbClr val="000000"/>
                </a:solidFill>
                <a:latin typeface="Georgia" pitchFamily="18" charset="0"/>
              </a:rPr>
              <a:t>	</a:t>
            </a:r>
            <a:r>
              <a:rPr lang="ru-RU" altLang="ru-RU" sz="2000" b="1" dirty="0">
                <a:solidFill>
                  <a:srgbClr val="000000"/>
                </a:solidFill>
                <a:latin typeface="Georgia" pitchFamily="18" charset="0"/>
              </a:rPr>
              <a:t>иммуногенность</a:t>
            </a:r>
          </a:p>
          <a:p>
            <a:pPr fontAlgn="base">
              <a:lnSpc>
                <a:spcPct val="90000"/>
              </a:lnSpc>
              <a:spcBef>
                <a:spcPct val="0"/>
              </a:spcBef>
              <a:spcAft>
                <a:spcPct val="0"/>
              </a:spcAft>
            </a:pPr>
            <a:endParaRPr lang="ru-RU" altLang="ru-RU" sz="2000" b="1" dirty="0">
              <a:solidFill>
                <a:srgbClr val="000000"/>
              </a:solidFill>
              <a:latin typeface="Georgia" pitchFamily="18" charset="0"/>
            </a:endParaRPr>
          </a:p>
          <a:p>
            <a:pPr fontAlgn="base">
              <a:lnSpc>
                <a:spcPct val="90000"/>
              </a:lnSpc>
              <a:spcBef>
                <a:spcPct val="0"/>
              </a:spcBef>
              <a:spcAft>
                <a:spcPct val="0"/>
              </a:spcAft>
              <a:buFontTx/>
              <a:buBlip>
                <a:blip r:embed="rId4"/>
              </a:buBlip>
            </a:pPr>
            <a:r>
              <a:rPr lang="en-US" altLang="ru-RU" sz="2000" b="1" dirty="0">
                <a:solidFill>
                  <a:srgbClr val="000000"/>
                </a:solidFill>
                <a:latin typeface="Georgia" pitchFamily="18" charset="0"/>
              </a:rPr>
              <a:t> </a:t>
            </a:r>
            <a:r>
              <a:rPr lang="ru-RU" altLang="ru-RU" sz="2000" b="1" dirty="0">
                <a:solidFill>
                  <a:srgbClr val="000000"/>
                </a:solidFill>
                <a:latin typeface="Georgia" pitchFamily="18" charset="0"/>
              </a:rPr>
              <a:t>ОПВ – контактный </a:t>
            </a:r>
            <a:r>
              <a:rPr lang="ru-RU" altLang="ru-RU" sz="2000" b="1" dirty="0" smtClean="0">
                <a:solidFill>
                  <a:srgbClr val="000000"/>
                </a:solidFill>
                <a:latin typeface="Georgia" pitchFamily="18" charset="0"/>
              </a:rPr>
              <a:t>иммунитет</a:t>
            </a:r>
          </a:p>
          <a:p>
            <a:pPr fontAlgn="base">
              <a:lnSpc>
                <a:spcPct val="90000"/>
              </a:lnSpc>
              <a:spcBef>
                <a:spcPct val="0"/>
              </a:spcBef>
              <a:spcAft>
                <a:spcPct val="0"/>
              </a:spcAft>
            </a:pPr>
            <a:endParaRPr lang="ru-RU" altLang="ru-RU" sz="2000" b="1" dirty="0" smtClean="0">
              <a:solidFill>
                <a:srgbClr val="000000"/>
              </a:solidFill>
              <a:latin typeface="Georgia" pitchFamily="18" charset="0"/>
            </a:endParaRPr>
          </a:p>
          <a:p>
            <a:pPr fontAlgn="base">
              <a:lnSpc>
                <a:spcPct val="90000"/>
              </a:lnSpc>
              <a:spcBef>
                <a:spcPct val="0"/>
              </a:spcBef>
              <a:spcAft>
                <a:spcPct val="0"/>
              </a:spcAft>
              <a:buFontTx/>
              <a:buBlip>
                <a:blip r:embed="rId4"/>
              </a:buBlip>
            </a:pPr>
            <a:r>
              <a:rPr lang="ru-RU" altLang="ru-RU" sz="2000" b="1" dirty="0" smtClean="0">
                <a:solidFill>
                  <a:srgbClr val="000000"/>
                </a:solidFill>
                <a:latin typeface="Georgia" pitchFamily="18" charset="0"/>
              </a:rPr>
              <a:t>ОПВ </a:t>
            </a:r>
            <a:r>
              <a:rPr lang="ru-RU" altLang="ru-RU" sz="2000" b="1" dirty="0">
                <a:solidFill>
                  <a:srgbClr val="000000"/>
                </a:solidFill>
                <a:latin typeface="Georgia" pitchFamily="18" charset="0"/>
              </a:rPr>
              <a:t>– более интенсивная стимуляция местного иммунитета в кишечнике</a:t>
            </a:r>
          </a:p>
          <a:p>
            <a:pPr fontAlgn="base">
              <a:lnSpc>
                <a:spcPct val="90000"/>
              </a:lnSpc>
              <a:spcBef>
                <a:spcPct val="0"/>
              </a:spcBef>
              <a:spcAft>
                <a:spcPct val="0"/>
              </a:spcAft>
            </a:pPr>
            <a:r>
              <a:rPr lang="ru-RU" altLang="ru-RU" sz="2500" dirty="0">
                <a:solidFill>
                  <a:srgbClr val="000000"/>
                </a:solidFill>
                <a:latin typeface="Georgia" pitchFamily="18" charset="0"/>
              </a:rPr>
              <a:t>	</a:t>
            </a:r>
            <a:endParaRPr lang="ru-RU" altLang="ru-RU" sz="2000" dirty="0">
              <a:solidFill>
                <a:srgbClr val="000000"/>
              </a:solidFill>
            </a:endParaRPr>
          </a:p>
        </p:txBody>
      </p:sp>
    </p:spTree>
    <p:extLst>
      <p:ext uri="{BB962C8B-B14F-4D97-AF65-F5344CB8AC3E}">
        <p14:creationId xmlns:p14="http://schemas.microsoft.com/office/powerpoint/2010/main" val="30693812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8" name="Дата 1"/>
          <p:cNvSpPr>
            <a:spLocks noGrp="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r>
              <a:rPr lang="ru-RU" altLang="ru-RU" sz="1400">
                <a:solidFill>
                  <a:srgbClr val="000000"/>
                </a:solidFill>
              </a:rPr>
              <a:t>ХаритСМ</a:t>
            </a:r>
          </a:p>
        </p:txBody>
      </p:sp>
      <p:sp>
        <p:nvSpPr>
          <p:cNvPr id="254979" name="Номер слайда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fld id="{72509C13-C8FB-4AEA-93F4-411FEB55A285}" type="slidenum">
              <a:rPr lang="ru-RU" altLang="ru-RU" sz="1400">
                <a:solidFill>
                  <a:srgbClr val="000000"/>
                </a:solidFill>
              </a:rPr>
              <a:pPr/>
              <a:t>12</a:t>
            </a:fld>
            <a:endParaRPr lang="ru-RU" altLang="ru-RU" sz="1400">
              <a:solidFill>
                <a:srgbClr val="000000"/>
              </a:solidFill>
            </a:endParaRPr>
          </a:p>
        </p:txBody>
      </p:sp>
      <p:sp>
        <p:nvSpPr>
          <p:cNvPr id="254980" name="Rectangle 2"/>
          <p:cNvSpPr>
            <a:spLocks noGrp="1" noChangeArrowheads="1"/>
          </p:cNvSpPr>
          <p:nvPr>
            <p:ph type="title" idx="4294967295"/>
          </p:nvPr>
        </p:nvSpPr>
        <p:spPr>
          <a:xfrm>
            <a:off x="5015880" y="520700"/>
            <a:ext cx="6886202" cy="1314450"/>
          </a:xfrm>
        </p:spPr>
        <p:txBody>
          <a:bodyPr/>
          <a:lstStyle/>
          <a:p>
            <a:pPr eaLnBrk="1" hangingPunct="1"/>
            <a:r>
              <a:rPr lang="ru-RU" altLang="ru-RU" sz="2800" b="1" dirty="0" smtClean="0">
                <a:solidFill>
                  <a:srgbClr val="FF0000"/>
                </a:solidFill>
              </a:rPr>
              <a:t>КОКЛЮШ -</a:t>
            </a:r>
            <a:r>
              <a:rPr lang="ru-RU" altLang="ru-RU" sz="5400" dirty="0"/>
              <a:t> </a:t>
            </a:r>
            <a:r>
              <a:rPr lang="ru-RU" altLang="ru-RU" sz="2000" b="1" dirty="0" smtClean="0">
                <a:solidFill>
                  <a:srgbClr val="FF0000"/>
                </a:solidFill>
              </a:rPr>
              <a:t>это </a:t>
            </a:r>
            <a:r>
              <a:rPr lang="ru-RU" altLang="ru-RU" sz="2000" b="1" dirty="0">
                <a:solidFill>
                  <a:srgbClr val="FF0000"/>
                </a:solidFill>
              </a:rPr>
              <a:t>острое </a:t>
            </a:r>
            <a:r>
              <a:rPr lang="ru-RU" altLang="ru-RU" sz="2000" b="1" dirty="0" err="1">
                <a:solidFill>
                  <a:srgbClr val="FF0000"/>
                </a:solidFill>
              </a:rPr>
              <a:t>высококонтагиозное</a:t>
            </a:r>
            <a:r>
              <a:rPr lang="ru-RU" altLang="ru-RU" sz="2000" b="1" dirty="0">
                <a:solidFill>
                  <a:srgbClr val="FF0000"/>
                </a:solidFill>
              </a:rPr>
              <a:t> инфекционное  заболевание</a:t>
            </a:r>
            <a:endParaRPr lang="ru-RU" altLang="ru-RU" sz="5400" b="1" dirty="0"/>
          </a:p>
        </p:txBody>
      </p:sp>
      <p:pic>
        <p:nvPicPr>
          <p:cNvPr id="254981" name="Picture 5" descr="pmp3-s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5560" y="2606675"/>
            <a:ext cx="34607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4982" name="Picture 4" descr="Рисунок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025" y="320675"/>
            <a:ext cx="375285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4983" name="Picture 5" descr="pertcdc00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70185" y="2200945"/>
            <a:ext cx="2673953" cy="4122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88848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Rectangle 2"/>
          <p:cNvSpPr>
            <a:spLocks noGrp="1" noChangeArrowheads="1"/>
          </p:cNvSpPr>
          <p:nvPr>
            <p:ph type="title"/>
          </p:nvPr>
        </p:nvSpPr>
        <p:spPr>
          <a:xfrm>
            <a:off x="1905000" y="33338"/>
            <a:ext cx="8229600" cy="1143000"/>
          </a:xfrm>
        </p:spPr>
        <p:txBody>
          <a:bodyPr/>
          <a:lstStyle/>
          <a:p>
            <a:pPr eaLnBrk="1" hangingPunct="1"/>
            <a:r>
              <a:rPr lang="ru-RU" altLang="ru-RU" sz="3600"/>
              <a:t>Дифтерия: бремя болезни</a:t>
            </a:r>
          </a:p>
        </p:txBody>
      </p:sp>
      <p:sp>
        <p:nvSpPr>
          <p:cNvPr id="257027" name="Rectangle 3"/>
          <p:cNvSpPr>
            <a:spLocks noGrp="1" noChangeArrowheads="1"/>
          </p:cNvSpPr>
          <p:nvPr>
            <p:ph type="body" sz="half" idx="1"/>
          </p:nvPr>
        </p:nvSpPr>
        <p:spPr>
          <a:xfrm>
            <a:off x="695400" y="1423915"/>
            <a:ext cx="4771325" cy="3979863"/>
          </a:xfrm>
        </p:spPr>
        <p:txBody>
          <a:bodyPr/>
          <a:lstStyle/>
          <a:p>
            <a:pPr eaLnBrk="1" hangingPunct="1">
              <a:lnSpc>
                <a:spcPct val="90000"/>
              </a:lnSpc>
            </a:pPr>
            <a:r>
              <a:rPr lang="ru-RU" altLang="ru-RU" sz="1800" b="1" dirty="0" err="1"/>
              <a:t>Высококонтагиозная</a:t>
            </a:r>
            <a:r>
              <a:rPr lang="ru-RU" altLang="ru-RU" sz="1800" b="1" dirty="0"/>
              <a:t> инфекция</a:t>
            </a:r>
          </a:p>
          <a:p>
            <a:pPr eaLnBrk="1" hangingPunct="1">
              <a:lnSpc>
                <a:spcPct val="90000"/>
              </a:lnSpc>
            </a:pPr>
            <a:r>
              <a:rPr lang="ru-RU" altLang="ru-RU" sz="1800" b="1" dirty="0"/>
              <a:t>Причинным фактором является </a:t>
            </a:r>
            <a:r>
              <a:rPr lang="en-US" altLang="ru-RU" sz="1800" b="1" i="1" dirty="0" err="1"/>
              <a:t>Corynebacterium</a:t>
            </a:r>
            <a:r>
              <a:rPr lang="en-US" altLang="ru-RU" sz="1800" b="1" i="1" dirty="0"/>
              <a:t> </a:t>
            </a:r>
            <a:r>
              <a:rPr lang="en-US" altLang="ru-RU" sz="1800" b="1" i="1" dirty="0" err="1"/>
              <a:t>diphtheriae</a:t>
            </a:r>
            <a:r>
              <a:rPr lang="ru-RU" altLang="ru-RU" sz="1800" b="1" dirty="0"/>
              <a:t> – </a:t>
            </a:r>
            <a:r>
              <a:rPr lang="ru-RU" altLang="ru-RU" sz="1800" b="1" dirty="0" err="1"/>
              <a:t>коринебактерия</a:t>
            </a:r>
            <a:r>
              <a:rPr lang="ru-RU" altLang="ru-RU" sz="1800" b="1" dirty="0"/>
              <a:t> дифтерии</a:t>
            </a:r>
          </a:p>
          <a:p>
            <a:pPr eaLnBrk="1" hangingPunct="1">
              <a:lnSpc>
                <a:spcPct val="90000"/>
              </a:lnSpc>
            </a:pPr>
            <a:r>
              <a:rPr lang="ru-RU" altLang="ru-RU" sz="1800" b="1" dirty="0"/>
              <a:t>Единственным источником инфекции является человек</a:t>
            </a:r>
          </a:p>
          <a:p>
            <a:pPr eaLnBrk="1" hangingPunct="1">
              <a:lnSpc>
                <a:spcPct val="90000"/>
              </a:lnSpc>
            </a:pPr>
            <a:r>
              <a:rPr lang="ru-RU" altLang="ru-RU" sz="1800" b="1" dirty="0"/>
              <a:t>Передается воздушно-капельным путем и с экссудатом (выпотом) инфицированных кожных повреждений</a:t>
            </a:r>
            <a:r>
              <a:rPr lang="ru-RU" altLang="ru-RU" sz="1800" b="1" baseline="30000" dirty="0"/>
              <a:t>1</a:t>
            </a:r>
            <a:endParaRPr lang="ru-RU" altLang="ru-RU" sz="1800" b="1" dirty="0"/>
          </a:p>
          <a:p>
            <a:pPr eaLnBrk="1" hangingPunct="1">
              <a:lnSpc>
                <a:spcPct val="90000"/>
              </a:lnSpc>
            </a:pPr>
            <a:r>
              <a:rPr lang="ru-RU" altLang="ru-RU" sz="1800" b="1" dirty="0"/>
              <a:t>Является заболеванием верхних дыхательных путей</a:t>
            </a:r>
          </a:p>
          <a:p>
            <a:pPr eaLnBrk="1" hangingPunct="1">
              <a:lnSpc>
                <a:spcPct val="90000"/>
              </a:lnSpc>
            </a:pPr>
            <a:r>
              <a:rPr lang="ru-RU" altLang="ru-RU" sz="1800" b="1" dirty="0"/>
              <a:t>Наиболее высокая смертность наблюдается в детском возрасте и у пожилых</a:t>
            </a:r>
            <a:r>
              <a:rPr lang="ru-RU" altLang="ru-RU" sz="1800" b="1" baseline="30000" dirty="0"/>
              <a:t>1</a:t>
            </a:r>
            <a:r>
              <a:rPr lang="en-GB" altLang="ru-RU" sz="1800" b="1" baseline="30000" dirty="0"/>
              <a:t>,</a:t>
            </a:r>
            <a:r>
              <a:rPr lang="ru-RU" altLang="ru-RU" sz="1800" b="1" baseline="30000" dirty="0"/>
              <a:t>2</a:t>
            </a:r>
          </a:p>
        </p:txBody>
      </p:sp>
      <p:sp>
        <p:nvSpPr>
          <p:cNvPr id="257028" name="Rectangle 4"/>
          <p:cNvSpPr>
            <a:spLocks noChangeArrowheads="1"/>
          </p:cNvSpPr>
          <p:nvPr/>
        </p:nvSpPr>
        <p:spPr bwMode="auto">
          <a:xfrm>
            <a:off x="2046289" y="5613401"/>
            <a:ext cx="4103687" cy="66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p>
            <a:pPr fontAlgn="base">
              <a:spcBef>
                <a:spcPct val="0"/>
              </a:spcBef>
              <a:spcAft>
                <a:spcPct val="0"/>
              </a:spcAft>
            </a:pPr>
            <a:endParaRPr lang="ru-RU" altLang="ru-RU" sz="2400" b="1">
              <a:solidFill>
                <a:srgbClr val="006666"/>
              </a:solidFill>
            </a:endParaRPr>
          </a:p>
        </p:txBody>
      </p:sp>
      <p:sp>
        <p:nvSpPr>
          <p:cNvPr id="257029" name="Rectangle 5"/>
          <p:cNvSpPr>
            <a:spLocks noChangeArrowheads="1"/>
          </p:cNvSpPr>
          <p:nvPr/>
        </p:nvSpPr>
        <p:spPr bwMode="auto">
          <a:xfrm>
            <a:off x="2917826" y="5584826"/>
            <a:ext cx="5834063"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p>
            <a:pPr marL="381000" indent="-381000" fontAlgn="base">
              <a:spcBef>
                <a:spcPct val="0"/>
              </a:spcBef>
              <a:spcAft>
                <a:spcPct val="0"/>
              </a:spcAft>
            </a:pPr>
            <a:endParaRPr lang="en-US" altLang="ru-RU" sz="1600">
              <a:solidFill>
                <a:srgbClr val="808080"/>
              </a:solidFill>
            </a:endParaRPr>
          </a:p>
        </p:txBody>
      </p:sp>
      <p:pic>
        <p:nvPicPr>
          <p:cNvPr id="257030" name="Picture 6" descr="Corynebacteriumdiphteria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06291" y="1540706"/>
            <a:ext cx="3838575" cy="297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0391" name="Rectangle 7"/>
          <p:cNvSpPr>
            <a:spLocks noChangeArrowheads="1"/>
          </p:cNvSpPr>
          <p:nvPr/>
        </p:nvSpPr>
        <p:spPr bwMode="auto">
          <a:xfrm>
            <a:off x="5806291" y="4701345"/>
            <a:ext cx="3006725" cy="519113"/>
          </a:xfrm>
          <a:prstGeom prst="rect">
            <a:avLst/>
          </a:prstGeom>
          <a:noFill/>
          <a:ln w="9525" algn="ctr">
            <a:noFill/>
            <a:miter lim="800000"/>
            <a:headEnd/>
            <a:tailEnd/>
          </a:ln>
          <a:effectLst/>
        </p:spPr>
        <p:txBody>
          <a:bodyPr wrap="none" anchor="ctr">
            <a:spAutoFit/>
          </a:bodyPr>
          <a:lstStyle/>
          <a:p>
            <a:pPr algn="r" eaLnBrk="0" fontAlgn="base" hangingPunct="0">
              <a:spcBef>
                <a:spcPct val="20000"/>
              </a:spcBef>
              <a:spcAft>
                <a:spcPct val="0"/>
              </a:spcAft>
              <a:buClr>
                <a:srgbClr val="257557"/>
              </a:buClr>
              <a:buSzPct val="115000"/>
              <a:defRPr/>
            </a:pPr>
            <a:r>
              <a:rPr lang="en-US" sz="2400" b="1" i="1" baseline="-25000" dirty="0" err="1">
                <a:solidFill>
                  <a:srgbClr val="777777"/>
                </a:solidFill>
              </a:rPr>
              <a:t>Corynebacterium</a:t>
            </a:r>
            <a:r>
              <a:rPr lang="en-US" sz="2400" b="1" i="1" baseline="-25000" dirty="0">
                <a:solidFill>
                  <a:srgbClr val="777777"/>
                </a:solidFill>
              </a:rPr>
              <a:t> </a:t>
            </a:r>
            <a:r>
              <a:rPr lang="en-US" sz="2400" b="1" i="1" baseline="-25000" dirty="0" err="1">
                <a:solidFill>
                  <a:srgbClr val="777777"/>
                </a:solidFill>
              </a:rPr>
              <a:t>diphtheriae</a:t>
            </a:r>
            <a:endParaRPr lang="ru-RU" sz="2400" b="1" i="1" baseline="-25000" dirty="0">
              <a:solidFill>
                <a:srgbClr val="777777"/>
              </a:solidFill>
            </a:endParaRPr>
          </a:p>
          <a:p>
            <a:pPr algn="r" eaLnBrk="0" fontAlgn="base" hangingPunct="0">
              <a:spcBef>
                <a:spcPct val="0"/>
              </a:spcBef>
              <a:spcAft>
                <a:spcPct val="0"/>
              </a:spcAft>
              <a:defRPr/>
            </a:pPr>
            <a:r>
              <a:rPr lang="en-US" i="1" baseline="-25000" dirty="0">
                <a:solidFill>
                  <a:srgbClr val="777777"/>
                </a:solidFill>
              </a:rPr>
              <a:t>www.</a:t>
            </a:r>
            <a:r>
              <a:rPr lang="ru-RU" i="1" baseline="-25000" dirty="0">
                <a:solidFill>
                  <a:srgbClr val="777777"/>
                </a:solidFill>
              </a:rPr>
              <a:t>microbewiki.kenyon.edu</a:t>
            </a:r>
            <a:r>
              <a:rPr lang="ru-RU" i="1" baseline="-25000" dirty="0">
                <a:solidFill>
                  <a:srgbClr val="777777"/>
                </a:solidFill>
                <a:effectLst>
                  <a:outerShdw blurRad="38100" dist="38100" dir="2700000" algn="tl">
                    <a:srgbClr val="000000"/>
                  </a:outerShdw>
                </a:effectLst>
              </a:rPr>
              <a:t> </a:t>
            </a:r>
            <a:r>
              <a:rPr lang="en-US" i="1" baseline="-25000" dirty="0">
                <a:solidFill>
                  <a:srgbClr val="777777"/>
                </a:solidFill>
              </a:rPr>
              <a:t>.</a:t>
            </a:r>
            <a:r>
              <a:rPr lang="en-US" i="1" baseline="-25000" dirty="0">
                <a:solidFill>
                  <a:srgbClr val="777777"/>
                </a:solidFill>
                <a:effectLst>
                  <a:outerShdw blurRad="38100" dist="38100" dir="2700000" algn="tl">
                    <a:srgbClr val="000000"/>
                  </a:outerShdw>
                </a:effectLst>
              </a:rPr>
              <a:t> </a:t>
            </a:r>
          </a:p>
        </p:txBody>
      </p:sp>
      <p:pic>
        <p:nvPicPr>
          <p:cNvPr id="257032"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84432" y="4149080"/>
            <a:ext cx="1944687" cy="2398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239429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Заголовок 1"/>
          <p:cNvSpPr>
            <a:spLocks noGrp="1"/>
          </p:cNvSpPr>
          <p:nvPr>
            <p:ph type="title"/>
          </p:nvPr>
        </p:nvSpPr>
        <p:spPr/>
        <p:txBody>
          <a:bodyPr/>
          <a:lstStyle/>
          <a:p>
            <a:r>
              <a:rPr lang="ru-RU" altLang="ru-RU" sz="2400" b="1">
                <a:solidFill>
                  <a:srgbClr val="FF0000"/>
                </a:solidFill>
              </a:rPr>
              <a:t>Программа «Элиминация кори и краснухи в Российской Федерации» (2016-2020 (2025) г.</a:t>
            </a:r>
            <a:endParaRPr lang="ru-RU" altLang="ru-RU" smtClean="0"/>
          </a:p>
        </p:txBody>
      </p:sp>
      <p:sp>
        <p:nvSpPr>
          <p:cNvPr id="3" name="Объект 2"/>
          <p:cNvSpPr>
            <a:spLocks noGrp="1"/>
          </p:cNvSpPr>
          <p:nvPr>
            <p:ph idx="1"/>
          </p:nvPr>
        </p:nvSpPr>
        <p:spPr>
          <a:xfrm>
            <a:off x="479376" y="1268760"/>
            <a:ext cx="11233248" cy="4525963"/>
          </a:xfrm>
        </p:spPr>
        <p:txBody>
          <a:bodyPr/>
          <a:lstStyle/>
          <a:p>
            <a:pPr marL="0" indent="0" algn="just" eaLnBrk="1" hangingPunct="1">
              <a:spcBef>
                <a:spcPct val="0"/>
              </a:spcBef>
              <a:buNone/>
              <a:defRPr/>
            </a:pPr>
            <a:r>
              <a:rPr lang="ru-RU" sz="2000" b="1" kern="1200" dirty="0">
                <a:solidFill>
                  <a:srgbClr val="000000"/>
                </a:solidFill>
                <a:latin typeface="Times New Roman" pitchFamily="18" charset="0"/>
                <a:cs typeface="Times New Roman" pitchFamily="18" charset="0"/>
              </a:rPr>
              <a:t>1. </a:t>
            </a:r>
            <a:r>
              <a:rPr lang="ru-RU" sz="2000" b="1" u="sng" kern="1200" dirty="0">
                <a:solidFill>
                  <a:srgbClr val="000000"/>
                </a:solidFill>
                <a:latin typeface="Times New Roman" pitchFamily="18" charset="0"/>
                <a:cs typeface="Times New Roman" pitchFamily="18" charset="0"/>
              </a:rPr>
              <a:t>Обеспечение и поддержание высоких уровней </a:t>
            </a:r>
            <a:r>
              <a:rPr lang="ru-RU" sz="2000" b="1" kern="1200" dirty="0">
                <a:solidFill>
                  <a:srgbClr val="000000"/>
                </a:solidFill>
                <a:latin typeface="Times New Roman" pitchFamily="18" charset="0"/>
                <a:cs typeface="Times New Roman" pitchFamily="18" charset="0"/>
              </a:rPr>
              <a:t>охвата прививками (вакцинацией </a:t>
            </a:r>
            <a:r>
              <a:rPr lang="ru-RU" sz="2000" b="1" kern="1200" dirty="0" smtClean="0">
                <a:solidFill>
                  <a:srgbClr val="000000"/>
                </a:solidFill>
                <a:latin typeface="Times New Roman" pitchFamily="18" charset="0"/>
                <a:cs typeface="Times New Roman" pitchFamily="18" charset="0"/>
              </a:rPr>
              <a:t/>
            </a:r>
            <a:br>
              <a:rPr lang="ru-RU" sz="2000" b="1" kern="1200" dirty="0" smtClean="0">
                <a:solidFill>
                  <a:srgbClr val="000000"/>
                </a:solidFill>
                <a:latin typeface="Times New Roman" pitchFamily="18" charset="0"/>
                <a:cs typeface="Times New Roman" pitchFamily="18" charset="0"/>
              </a:rPr>
            </a:br>
            <a:r>
              <a:rPr lang="ru-RU" sz="2000" b="1" kern="1200" dirty="0" smtClean="0">
                <a:solidFill>
                  <a:srgbClr val="000000"/>
                </a:solidFill>
                <a:latin typeface="Times New Roman" pitchFamily="18" charset="0"/>
                <a:cs typeface="Times New Roman" pitchFamily="18" charset="0"/>
              </a:rPr>
              <a:t>и </a:t>
            </a:r>
            <a:r>
              <a:rPr lang="ru-RU" sz="2000" b="1" kern="1200" dirty="0">
                <a:solidFill>
                  <a:srgbClr val="000000"/>
                </a:solidFill>
                <a:latin typeface="Times New Roman" pitchFamily="18" charset="0"/>
                <a:cs typeface="Times New Roman" pitchFamily="18" charset="0"/>
              </a:rPr>
              <a:t>ревакцинацией) против кори и краснухи детей в декретированных возрастах  и взрослых, </a:t>
            </a:r>
            <a:r>
              <a:rPr lang="ru-RU" sz="2000" b="1" u="sng" kern="1200" dirty="0">
                <a:solidFill>
                  <a:srgbClr val="000000"/>
                </a:solidFill>
                <a:latin typeface="Times New Roman" pitchFamily="18" charset="0"/>
                <a:cs typeface="Times New Roman" pitchFamily="18" charset="0"/>
              </a:rPr>
              <a:t>включая группы повышенного риска инфицирования и труднодоступные группы населения</a:t>
            </a:r>
            <a:r>
              <a:rPr lang="ru-RU" sz="2000" b="1" kern="1200" dirty="0">
                <a:solidFill>
                  <a:srgbClr val="000000"/>
                </a:solidFill>
                <a:latin typeface="Times New Roman" pitchFamily="18" charset="0"/>
                <a:cs typeface="Times New Roman" pitchFamily="18" charset="0"/>
              </a:rPr>
              <a:t>, </a:t>
            </a:r>
            <a:r>
              <a:rPr lang="ru-RU" sz="2000" b="1" kern="1200" dirty="0" smtClean="0">
                <a:solidFill>
                  <a:srgbClr val="000000"/>
                </a:solidFill>
                <a:latin typeface="Times New Roman" pitchFamily="18" charset="0"/>
                <a:cs typeface="Times New Roman" pitchFamily="18" charset="0"/>
              </a:rPr>
              <a:t/>
            </a:r>
            <a:br>
              <a:rPr lang="ru-RU" sz="2000" b="1" kern="1200" dirty="0" smtClean="0">
                <a:solidFill>
                  <a:srgbClr val="000000"/>
                </a:solidFill>
                <a:latin typeface="Times New Roman" pitchFamily="18" charset="0"/>
                <a:cs typeface="Times New Roman" pitchFamily="18" charset="0"/>
              </a:rPr>
            </a:br>
            <a:r>
              <a:rPr lang="ru-RU" sz="2000" b="1" kern="1200" dirty="0" smtClean="0">
                <a:solidFill>
                  <a:srgbClr val="000000"/>
                </a:solidFill>
                <a:latin typeface="Times New Roman" pitchFamily="18" charset="0"/>
                <a:cs typeface="Times New Roman" pitchFamily="18" charset="0"/>
              </a:rPr>
              <a:t>в </a:t>
            </a:r>
            <a:r>
              <a:rPr lang="ru-RU" sz="2000" b="1" kern="1200" dirty="0">
                <a:solidFill>
                  <a:srgbClr val="000000"/>
                </a:solidFill>
                <a:latin typeface="Times New Roman" pitchFamily="18" charset="0"/>
                <a:cs typeface="Times New Roman" pitchFamily="18" charset="0"/>
              </a:rPr>
              <a:t>соответствии с национальным календарем профилактических прививок </a:t>
            </a:r>
          </a:p>
          <a:p>
            <a:pPr marL="0" indent="0" algn="just" eaLnBrk="1" hangingPunct="1">
              <a:spcBef>
                <a:spcPct val="0"/>
              </a:spcBef>
              <a:buNone/>
              <a:defRPr/>
            </a:pPr>
            <a:r>
              <a:rPr lang="ru-RU" sz="2000" b="1" kern="1200" dirty="0">
                <a:solidFill>
                  <a:srgbClr val="000000"/>
                </a:solidFill>
                <a:latin typeface="Times New Roman" pitchFamily="18" charset="0"/>
                <a:cs typeface="Times New Roman" pitchFamily="18" charset="0"/>
              </a:rPr>
              <a:t> </a:t>
            </a:r>
          </a:p>
          <a:p>
            <a:pPr>
              <a:defRPr/>
            </a:pPr>
            <a:endParaRPr lang="ru-RU" dirty="0"/>
          </a:p>
        </p:txBody>
      </p:sp>
      <p:pic>
        <p:nvPicPr>
          <p:cNvPr id="258052" name="Рисунок 27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9496" y="3284984"/>
            <a:ext cx="3065463" cy="32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Прямоугольник 3"/>
          <p:cNvSpPr/>
          <p:nvPr/>
        </p:nvSpPr>
        <p:spPr>
          <a:xfrm>
            <a:off x="1559496" y="2708920"/>
            <a:ext cx="3664786" cy="369332"/>
          </a:xfrm>
          <a:prstGeom prst="rect">
            <a:avLst/>
          </a:prstGeom>
        </p:spPr>
        <p:txBody>
          <a:bodyPr wrap="none">
            <a:spAutoFit/>
          </a:bodyPr>
          <a:lstStyle/>
          <a:p>
            <a:pPr defTabSz="457200">
              <a:defRPr/>
            </a:pPr>
            <a:r>
              <a:rPr lang="ru-RU" b="1" kern="0" dirty="0" err="1">
                <a:solidFill>
                  <a:prstClr val="black"/>
                </a:solidFill>
                <a:ea typeface="MS Gothic"/>
              </a:rPr>
              <a:t>Контагиозность</a:t>
            </a:r>
            <a:r>
              <a:rPr lang="ru-RU" b="1" kern="0" dirty="0">
                <a:solidFill>
                  <a:prstClr val="black"/>
                </a:solidFill>
                <a:ea typeface="MS Gothic"/>
              </a:rPr>
              <a:t> кори – 95-96%</a:t>
            </a:r>
            <a:endParaRPr lang="ru-RU" kern="0" dirty="0">
              <a:solidFill>
                <a:prstClr val="black"/>
              </a:solidFill>
            </a:endParaRPr>
          </a:p>
        </p:txBody>
      </p:sp>
      <p:pic>
        <p:nvPicPr>
          <p:cNvPr id="25805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2144" y="3284984"/>
            <a:ext cx="31242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6621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TextShape 1"/>
          <p:cNvSpPr txBox="1">
            <a:spLocks noChangeArrowheads="1"/>
          </p:cNvSpPr>
          <p:nvPr/>
        </p:nvSpPr>
        <p:spPr bwMode="auto">
          <a:xfrm>
            <a:off x="1830040" y="404664"/>
            <a:ext cx="8531919" cy="1303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ctr" fontAlgn="base">
              <a:spcBef>
                <a:spcPct val="0"/>
              </a:spcBef>
              <a:spcAft>
                <a:spcPct val="0"/>
              </a:spcAft>
            </a:pPr>
            <a:r>
              <a:rPr lang="en-US" altLang="ru-RU" dirty="0" err="1">
                <a:solidFill>
                  <a:srgbClr val="C00000"/>
                </a:solidFill>
              </a:rPr>
              <a:t>Тератогенный</a:t>
            </a:r>
            <a:r>
              <a:rPr lang="en-US" altLang="ru-RU" dirty="0">
                <a:solidFill>
                  <a:srgbClr val="C00000"/>
                </a:solidFill>
              </a:rPr>
              <a:t> </a:t>
            </a:r>
            <a:r>
              <a:rPr lang="en-US" altLang="ru-RU" dirty="0" err="1">
                <a:solidFill>
                  <a:srgbClr val="C00000"/>
                </a:solidFill>
              </a:rPr>
              <a:t>эффект</a:t>
            </a:r>
            <a:r>
              <a:rPr lang="en-US" altLang="ru-RU" dirty="0">
                <a:solidFill>
                  <a:srgbClr val="C00000"/>
                </a:solidFill>
              </a:rPr>
              <a:t> у </a:t>
            </a:r>
            <a:r>
              <a:rPr lang="en-US" altLang="ru-RU" dirty="0" err="1">
                <a:solidFill>
                  <a:srgbClr val="C00000"/>
                </a:solidFill>
              </a:rPr>
              <a:t>беременных</a:t>
            </a:r>
            <a:r>
              <a:rPr lang="en-US" altLang="ru-RU" dirty="0">
                <a:solidFill>
                  <a:srgbClr val="C00000"/>
                </a:solidFill>
              </a:rPr>
              <a:t> </a:t>
            </a:r>
            <a:r>
              <a:rPr lang="en-US" altLang="ru-RU" dirty="0" err="1">
                <a:solidFill>
                  <a:srgbClr val="C00000"/>
                </a:solidFill>
              </a:rPr>
              <a:t>женщин</a:t>
            </a:r>
            <a:r>
              <a:rPr lang="en-US" altLang="ru-RU" dirty="0">
                <a:solidFill>
                  <a:srgbClr val="C00000"/>
                </a:solidFill>
              </a:rPr>
              <a:t> </a:t>
            </a:r>
            <a:r>
              <a:rPr lang="en-US" altLang="ru-RU" dirty="0" err="1">
                <a:solidFill>
                  <a:srgbClr val="C00000"/>
                </a:solidFill>
              </a:rPr>
              <a:t>больных</a:t>
            </a:r>
            <a:r>
              <a:rPr lang="en-US" altLang="ru-RU" dirty="0">
                <a:solidFill>
                  <a:srgbClr val="C00000"/>
                </a:solidFill>
              </a:rPr>
              <a:t> </a:t>
            </a:r>
            <a:r>
              <a:rPr lang="en-US" altLang="ru-RU" dirty="0" err="1">
                <a:solidFill>
                  <a:srgbClr val="C00000"/>
                </a:solidFill>
              </a:rPr>
              <a:t>краснухой</a:t>
            </a:r>
            <a:endParaRPr lang="ru-RU" altLang="ru-RU" dirty="0">
              <a:solidFill>
                <a:srgbClr val="C00000"/>
              </a:solidFill>
            </a:endParaRPr>
          </a:p>
        </p:txBody>
      </p:sp>
      <p:pic>
        <p:nvPicPr>
          <p:cNvPr id="749" name="Picture 2"/>
          <p:cNvPicPr/>
          <p:nvPr/>
        </p:nvPicPr>
        <p:blipFill>
          <a:blip r:embed="rId3" cstate="print">
            <a:duotone>
              <a:prstClr val="black"/>
              <a:srgbClr val="D9C3A5">
                <a:tint val="50000"/>
                <a:satMod val="180000"/>
              </a:srgbClr>
            </a:duotone>
            <a:extLst/>
          </a:blip>
          <a:stretch>
            <a:fillRect/>
          </a:stretch>
        </p:blipFill>
        <p:spPr>
          <a:xfrm>
            <a:off x="2143902" y="2054148"/>
            <a:ext cx="7912567" cy="4493488"/>
          </a:xfrm>
          <a:prstGeom prst="rect">
            <a:avLst/>
          </a:prstGeom>
        </p:spPr>
      </p:pic>
    </p:spTree>
    <p:extLst>
      <p:ext uri="{BB962C8B-B14F-4D97-AF65-F5344CB8AC3E}">
        <p14:creationId xmlns:p14="http://schemas.microsoft.com/office/powerpoint/2010/main" val="2578579018"/>
      </p:ext>
    </p:extLst>
  </p:cSld>
  <p:clrMapOvr>
    <a:masterClrMapping/>
  </p:clrMapOvr>
  <p:transition spd="med">
    <p:fade/>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TextShape 1"/>
          <p:cNvSpPr txBox="1">
            <a:spLocks noChangeArrowheads="1"/>
          </p:cNvSpPr>
          <p:nvPr/>
        </p:nvSpPr>
        <p:spPr bwMode="auto">
          <a:xfrm>
            <a:off x="263352" y="250826"/>
            <a:ext cx="8918749"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000">
                <a:solidFill>
                  <a:schemeClr val="tx1"/>
                </a:solidFill>
                <a:latin typeface="Century Gothic" pitchFamily="34" charset="0"/>
              </a:defRPr>
            </a:lvl1pPr>
            <a:lvl2pPr>
              <a:defRPr>
                <a:solidFill>
                  <a:schemeClr val="tx1"/>
                </a:solidFill>
                <a:latin typeface="Century Gothic" pitchFamily="34" charset="0"/>
              </a:defRPr>
            </a:lvl2pPr>
            <a:lvl3pPr>
              <a:defRPr sz="1600">
                <a:solidFill>
                  <a:schemeClr val="tx1"/>
                </a:solidFill>
                <a:latin typeface="Century Gothic" pitchFamily="34" charset="0"/>
              </a:defRPr>
            </a:lvl3pPr>
            <a:lvl4pPr>
              <a:defRPr sz="1400">
                <a:solidFill>
                  <a:schemeClr val="tx1"/>
                </a:solidFill>
                <a:latin typeface="Century Gothic" pitchFamily="34" charset="0"/>
              </a:defRPr>
            </a:lvl4pPr>
            <a:lvl5pPr>
              <a:defRPr sz="1400">
                <a:solidFill>
                  <a:schemeClr val="tx1"/>
                </a:solidFill>
                <a:latin typeface="Century Gothic" pitchFamily="34" charset="0"/>
              </a:defRPr>
            </a:lvl5pPr>
            <a:lvl6pPr marL="2514600" eaLnBrk="0" fontAlgn="base" hangingPunct="0">
              <a:spcAft>
                <a:spcPct val="0"/>
              </a:spcAft>
              <a:buClr>
                <a:srgbClr val="8AD0D6"/>
              </a:buClr>
              <a:buFont typeface="Wingdings 3" pitchFamily="18" charset="2"/>
              <a:defRPr sz="1400">
                <a:solidFill>
                  <a:schemeClr val="tx1"/>
                </a:solidFill>
                <a:latin typeface="Century Gothic" pitchFamily="34" charset="0"/>
              </a:defRPr>
            </a:lvl6pPr>
            <a:lvl7pPr eaLnBrk="0" fontAlgn="base" hangingPunct="0">
              <a:spcAft>
                <a:spcPct val="0"/>
              </a:spcAft>
              <a:buClr>
                <a:srgbClr val="8AD0D6"/>
              </a:buClr>
              <a:buFont typeface="Wingdings 3" pitchFamily="18" charset="2"/>
              <a:defRPr sz="1400">
                <a:solidFill>
                  <a:schemeClr val="tx1"/>
                </a:solidFill>
                <a:latin typeface="Century Gothic" pitchFamily="34" charset="0"/>
              </a:defRPr>
            </a:lvl7pPr>
            <a:lvl8pPr eaLnBrk="0" fontAlgn="base" hangingPunct="0">
              <a:spcAft>
                <a:spcPct val="0"/>
              </a:spcAft>
              <a:buClr>
                <a:srgbClr val="8AD0D6"/>
              </a:buClr>
              <a:buFont typeface="Wingdings 3" pitchFamily="18" charset="2"/>
              <a:defRPr sz="1400">
                <a:solidFill>
                  <a:schemeClr val="tx1"/>
                </a:solidFill>
                <a:latin typeface="Century Gothic" pitchFamily="34" charset="0"/>
              </a:defRPr>
            </a:lvl8pPr>
            <a:lvl9pPr eaLnBrk="0" fontAlgn="base" hangingPunct="0">
              <a:spcAft>
                <a:spcPct val="0"/>
              </a:spcAft>
              <a:buClr>
                <a:srgbClr val="8AD0D6"/>
              </a:buClr>
              <a:buFont typeface="Wingdings 3" pitchFamily="18" charset="2"/>
              <a:defRPr sz="1400">
                <a:solidFill>
                  <a:schemeClr val="tx1"/>
                </a:solidFill>
                <a:latin typeface="Century Gothic" pitchFamily="34" charset="0"/>
              </a:defRPr>
            </a:lvl9pPr>
          </a:lstStyle>
          <a:p>
            <a:pPr defTabSz="457200" fontAlgn="base">
              <a:spcBef>
                <a:spcPct val="0"/>
              </a:spcBef>
              <a:spcAft>
                <a:spcPct val="0"/>
              </a:spcAft>
            </a:pPr>
            <a:r>
              <a:rPr lang="en-US" altLang="ru-RU" sz="3600" b="1" i="1" dirty="0" err="1">
                <a:solidFill>
                  <a:srgbClr val="FAF1D4"/>
                </a:solidFill>
                <a:latin typeface="Arial" pitchFamily="34" charset="0"/>
                <a:cs typeface="Arial" pitchFamily="34" charset="0"/>
              </a:rPr>
              <a:t>Больной</a:t>
            </a:r>
            <a:r>
              <a:rPr lang="en-US" altLang="ru-RU" sz="3600" b="1" i="1" dirty="0">
                <a:solidFill>
                  <a:srgbClr val="FAF1D4"/>
                </a:solidFill>
                <a:latin typeface="Arial" pitchFamily="34" charset="0"/>
                <a:cs typeface="Arial" pitchFamily="34" charset="0"/>
              </a:rPr>
              <a:t> </a:t>
            </a:r>
            <a:r>
              <a:rPr lang="en-US" altLang="ru-RU" sz="3600" b="1" i="1" dirty="0" err="1">
                <a:solidFill>
                  <a:srgbClr val="FAF1D4"/>
                </a:solidFill>
                <a:latin typeface="Arial" pitchFamily="34" charset="0"/>
                <a:cs typeface="Arial" pitchFamily="34" charset="0"/>
              </a:rPr>
              <a:t>эпидемическим</a:t>
            </a:r>
            <a:r>
              <a:rPr lang="en-US" altLang="ru-RU" sz="3600" b="1" i="1" dirty="0">
                <a:solidFill>
                  <a:srgbClr val="FAF1D4"/>
                </a:solidFill>
                <a:latin typeface="Arial" pitchFamily="34" charset="0"/>
                <a:cs typeface="Arial" pitchFamily="34" charset="0"/>
              </a:rPr>
              <a:t> </a:t>
            </a:r>
            <a:r>
              <a:rPr lang="en-US" altLang="ru-RU" sz="3600" b="1" i="1" dirty="0" err="1">
                <a:solidFill>
                  <a:srgbClr val="FAF1D4"/>
                </a:solidFill>
                <a:latin typeface="Arial" pitchFamily="34" charset="0"/>
                <a:cs typeface="Arial" pitchFamily="34" charset="0"/>
              </a:rPr>
              <a:t>паротитом</a:t>
            </a:r>
            <a:endParaRPr lang="ru-RU" altLang="ru-RU" sz="1800" dirty="0">
              <a:solidFill>
                <a:srgbClr val="FAF1D4"/>
              </a:solidFill>
              <a:latin typeface="Arial" pitchFamily="34" charset="0"/>
              <a:cs typeface="Arial" pitchFamily="34" charset="0"/>
            </a:endParaRPr>
          </a:p>
        </p:txBody>
      </p:sp>
      <p:pic>
        <p:nvPicPr>
          <p:cNvPr id="260099" name="Picture 2"/>
          <p:cNvPicPr>
            <a:picLocks noChangeAspect="1" noChangeArrowheads="1"/>
          </p:cNvPicPr>
          <p:nvPr/>
        </p:nvPicPr>
        <p:blipFill>
          <a:blip r:embed="rId3">
            <a:extLst>
              <a:ext uri="{28A0092B-C50C-407E-A947-70E740481C1C}">
                <a14:useLocalDpi xmlns:a14="http://schemas.microsoft.com/office/drawing/2010/main" val="0"/>
              </a:ext>
            </a:extLst>
          </a:blip>
          <a:srcRect l="7593" t="7814" r="9444" b="22935"/>
          <a:stretch>
            <a:fillRect/>
          </a:stretch>
        </p:blipFill>
        <p:spPr bwMode="auto">
          <a:xfrm>
            <a:off x="767408" y="1522918"/>
            <a:ext cx="3171825" cy="319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0100" name="CustomShape 2"/>
          <p:cNvSpPr>
            <a:spLocks noChangeArrowheads="1"/>
          </p:cNvSpPr>
          <p:nvPr/>
        </p:nvSpPr>
        <p:spPr bwMode="auto">
          <a:xfrm>
            <a:off x="4367808" y="1916832"/>
            <a:ext cx="5184576" cy="188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p>
            <a:pPr defTabSz="457200" fontAlgn="base">
              <a:spcBef>
                <a:spcPct val="0"/>
              </a:spcBef>
              <a:spcAft>
                <a:spcPct val="0"/>
              </a:spcAft>
            </a:pPr>
            <a:r>
              <a:rPr lang="ru-RU" altLang="ru-RU" sz="2400" dirty="0">
                <a:solidFill>
                  <a:srgbClr val="FFFF00"/>
                </a:solidFill>
                <a:latin typeface="Arial" pitchFamily="34" charset="0"/>
                <a:ea typeface="MS Gothic" pitchFamily="49" charset="-128"/>
                <a:cs typeface="Arial" pitchFamily="34" charset="0"/>
              </a:rPr>
              <a:t>У заболевших мальчиков в 25% случаев может развиваться орхит, а у девочек-подростков после </a:t>
            </a:r>
            <a:r>
              <a:rPr lang="ru-RU" altLang="ru-RU" sz="2400" dirty="0" smtClean="0">
                <a:solidFill>
                  <a:srgbClr val="FFFF00"/>
                </a:solidFill>
                <a:latin typeface="Arial" pitchFamily="34" charset="0"/>
                <a:ea typeface="MS Gothic" pitchFamily="49" charset="-128"/>
                <a:cs typeface="Arial" pitchFamily="34" charset="0"/>
              </a:rPr>
              <a:t/>
            </a:r>
            <a:br>
              <a:rPr lang="ru-RU" altLang="ru-RU" sz="2400" dirty="0" smtClean="0">
                <a:solidFill>
                  <a:srgbClr val="FFFF00"/>
                </a:solidFill>
                <a:latin typeface="Arial" pitchFamily="34" charset="0"/>
                <a:ea typeface="MS Gothic" pitchFamily="49" charset="-128"/>
                <a:cs typeface="Arial" pitchFamily="34" charset="0"/>
              </a:rPr>
            </a:br>
            <a:r>
              <a:rPr lang="ru-RU" altLang="ru-RU" sz="2400" dirty="0" smtClean="0">
                <a:solidFill>
                  <a:srgbClr val="FFFF00"/>
                </a:solidFill>
                <a:latin typeface="Arial" pitchFamily="34" charset="0"/>
                <a:ea typeface="MS Gothic" pitchFamily="49" charset="-128"/>
                <a:cs typeface="Arial" pitchFamily="34" charset="0"/>
              </a:rPr>
              <a:t>14 </a:t>
            </a:r>
            <a:r>
              <a:rPr lang="ru-RU" altLang="ru-RU" sz="2400" dirty="0">
                <a:solidFill>
                  <a:srgbClr val="FFFF00"/>
                </a:solidFill>
                <a:latin typeface="Arial" pitchFamily="34" charset="0"/>
                <a:ea typeface="MS Gothic" pitchFamily="49" charset="-128"/>
                <a:cs typeface="Arial" pitchFamily="34" charset="0"/>
              </a:rPr>
              <a:t>лет в 31% случаев – мастит. </a:t>
            </a:r>
          </a:p>
          <a:p>
            <a:pPr defTabSz="457200" fontAlgn="base">
              <a:spcBef>
                <a:spcPct val="0"/>
              </a:spcBef>
              <a:spcAft>
                <a:spcPct val="0"/>
              </a:spcAft>
            </a:pPr>
            <a:endParaRPr lang="ru-RU" altLang="ru-RU" sz="2400" dirty="0">
              <a:solidFill>
                <a:srgbClr val="FFFFFF"/>
              </a:solidFill>
              <a:latin typeface="Arial" pitchFamily="34" charset="0"/>
              <a:ea typeface="MS Gothic" pitchFamily="49" charset="-128"/>
              <a:cs typeface="Arial" pitchFamily="34" charset="0"/>
            </a:endParaRPr>
          </a:p>
        </p:txBody>
      </p:sp>
      <p:sp>
        <p:nvSpPr>
          <p:cNvPr id="260101" name="Прямоугольник 1"/>
          <p:cNvSpPr>
            <a:spLocks noChangeArrowheads="1"/>
          </p:cNvSpPr>
          <p:nvPr/>
        </p:nvSpPr>
        <p:spPr bwMode="auto">
          <a:xfrm>
            <a:off x="767408" y="5013176"/>
            <a:ext cx="11161240" cy="1076325"/>
          </a:xfrm>
          <a:prstGeom prst="rect">
            <a:avLst/>
          </a:prstGeom>
          <a:solidFill>
            <a:srgbClr val="FF0000"/>
          </a:solidFill>
          <a:ln w="38100">
            <a:solidFill>
              <a:schemeClr val="tx1"/>
            </a:solidFill>
            <a:miter lim="800000"/>
            <a:headEnd/>
            <a:tailEnd/>
          </a:ln>
        </p:spPr>
        <p:txBody>
          <a:bodyPr wrap="square">
            <a:spAutoFit/>
          </a:bodyPr>
          <a:lstStyle/>
          <a:p>
            <a:pPr algn="ctr" defTabSz="457200" fontAlgn="base">
              <a:spcBef>
                <a:spcPct val="0"/>
              </a:spcBef>
              <a:spcAft>
                <a:spcPct val="0"/>
              </a:spcAft>
            </a:pPr>
            <a:r>
              <a:rPr lang="ru-RU" altLang="ru-RU" sz="3200" b="1" dirty="0">
                <a:solidFill>
                  <a:srgbClr val="FAF1D4"/>
                </a:solidFill>
                <a:latin typeface="Times New Roman" pitchFamily="18" charset="0"/>
                <a:ea typeface="MS Gothic" pitchFamily="49" charset="-128"/>
                <a:cs typeface="Arial" pitchFamily="34" charset="0"/>
              </a:rPr>
              <a:t>Риск выкидыша при ЭП </a:t>
            </a:r>
            <a:r>
              <a:rPr lang="ru-RU" altLang="ru-RU" sz="3200" b="1" dirty="0" smtClean="0">
                <a:solidFill>
                  <a:srgbClr val="FAF1D4"/>
                </a:solidFill>
                <a:latin typeface="Times New Roman" pitchFamily="18" charset="0"/>
                <a:ea typeface="MS Gothic" pitchFamily="49" charset="-128"/>
                <a:cs typeface="Arial" pitchFamily="34" charset="0"/>
              </a:rPr>
              <a:t>выше, </a:t>
            </a:r>
          </a:p>
          <a:p>
            <a:pPr algn="ctr" defTabSz="457200" fontAlgn="base">
              <a:spcBef>
                <a:spcPct val="0"/>
              </a:spcBef>
              <a:spcAft>
                <a:spcPct val="0"/>
              </a:spcAft>
            </a:pPr>
            <a:r>
              <a:rPr lang="ru-RU" altLang="ru-RU" sz="3200" b="1" dirty="0" smtClean="0">
                <a:solidFill>
                  <a:srgbClr val="FAF1D4"/>
                </a:solidFill>
                <a:latin typeface="Times New Roman" pitchFamily="18" charset="0"/>
                <a:ea typeface="MS Gothic" pitchFamily="49" charset="-128"/>
                <a:cs typeface="Arial" pitchFamily="34" charset="0"/>
              </a:rPr>
              <a:t>чем </a:t>
            </a:r>
            <a:r>
              <a:rPr lang="ru-RU" altLang="ru-RU" sz="3200" b="1" dirty="0">
                <a:solidFill>
                  <a:srgbClr val="FAF1D4"/>
                </a:solidFill>
                <a:latin typeface="Times New Roman" pitchFamily="18" charset="0"/>
                <a:ea typeface="MS Gothic" pitchFamily="49" charset="-128"/>
                <a:cs typeface="Arial" pitchFamily="34" charset="0"/>
              </a:rPr>
              <a:t>при заболевании краснухой</a:t>
            </a:r>
            <a:endParaRPr lang="ru-RU" altLang="ru-RU" sz="3200" b="1" dirty="0">
              <a:solidFill>
                <a:srgbClr val="FAF1D4"/>
              </a:solidFill>
              <a:ea typeface="MS Gothic" pitchFamily="49" charset="-128"/>
              <a:cs typeface="Arial" pitchFamily="34" charset="0"/>
            </a:endParaRPr>
          </a:p>
        </p:txBody>
      </p:sp>
      <p:pic>
        <p:nvPicPr>
          <p:cNvPr id="260102" name="Picture 13" descr="mumpcdc001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80959" y="1534973"/>
            <a:ext cx="1560513" cy="23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6985679"/>
      </p:ext>
    </p:extLst>
  </p:cSld>
  <p:clrMapOvr>
    <a:masterClrMapping/>
  </p:clrMapOvr>
  <p:transition spd="med">
    <p:fade/>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Rectangle 2"/>
          <p:cNvSpPr>
            <a:spLocks noGrp="1" noChangeArrowheads="1"/>
          </p:cNvSpPr>
          <p:nvPr>
            <p:ph type="title"/>
          </p:nvPr>
        </p:nvSpPr>
        <p:spPr>
          <a:xfrm>
            <a:off x="551384" y="548680"/>
            <a:ext cx="9505056" cy="1312863"/>
          </a:xfrm>
        </p:spPr>
        <p:txBody>
          <a:bodyPr/>
          <a:lstStyle/>
          <a:p>
            <a:pPr algn="ctr" eaLnBrk="1" hangingPunct="1">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GB" altLang="ru-RU" sz="3600" dirty="0" err="1">
                <a:latin typeface="Arial" pitchFamily="34" charset="0"/>
                <a:cs typeface="Arial" pitchFamily="34" charset="0"/>
              </a:rPr>
              <a:t>Вакцинопрофилактика</a:t>
            </a:r>
            <a:r>
              <a:rPr lang="en-GB" altLang="ru-RU" sz="3600" dirty="0">
                <a:latin typeface="Arial" pitchFamily="34" charset="0"/>
                <a:cs typeface="Arial" pitchFamily="34" charset="0"/>
              </a:rPr>
              <a:t> </a:t>
            </a:r>
            <a:r>
              <a:rPr lang="en-GB" altLang="ru-RU" sz="3600" dirty="0" err="1">
                <a:latin typeface="Arial" pitchFamily="34" charset="0"/>
                <a:cs typeface="Arial" pitchFamily="34" charset="0"/>
              </a:rPr>
              <a:t>эпидемического</a:t>
            </a:r>
            <a:r>
              <a:rPr lang="en-GB" altLang="ru-RU" sz="3600" dirty="0">
                <a:latin typeface="Arial" pitchFamily="34" charset="0"/>
                <a:cs typeface="Arial" pitchFamily="34" charset="0"/>
              </a:rPr>
              <a:t> </a:t>
            </a:r>
            <a:r>
              <a:rPr lang="ru-RU" altLang="ru-RU" sz="3600" dirty="0">
                <a:latin typeface="Arial" pitchFamily="34" charset="0"/>
                <a:cs typeface="Arial" pitchFamily="34" charset="0"/>
              </a:rPr>
              <a:t/>
            </a:r>
            <a:br>
              <a:rPr lang="ru-RU" altLang="ru-RU" sz="3600" dirty="0">
                <a:latin typeface="Arial" pitchFamily="34" charset="0"/>
                <a:cs typeface="Arial" pitchFamily="34" charset="0"/>
              </a:rPr>
            </a:br>
            <a:r>
              <a:rPr lang="en-GB" altLang="ru-RU" sz="3600" dirty="0" err="1">
                <a:latin typeface="Arial" pitchFamily="34" charset="0"/>
                <a:cs typeface="Arial" pitchFamily="34" charset="0"/>
              </a:rPr>
              <a:t>паротита</a:t>
            </a:r>
            <a:endParaRPr lang="en-GB" altLang="ru-RU" sz="3600" dirty="0">
              <a:latin typeface="Arial" pitchFamily="34" charset="0"/>
              <a:cs typeface="Arial" pitchFamily="34" charset="0"/>
            </a:endParaRPr>
          </a:p>
        </p:txBody>
      </p:sp>
      <p:sp>
        <p:nvSpPr>
          <p:cNvPr id="2" name="Прямоугольник 1"/>
          <p:cNvSpPr/>
          <p:nvPr/>
        </p:nvSpPr>
        <p:spPr>
          <a:xfrm>
            <a:off x="695400" y="2708920"/>
            <a:ext cx="10585176" cy="2727926"/>
          </a:xfrm>
          <a:prstGeom prst="rect">
            <a:avLst/>
          </a:prstGeom>
          <a:solidFill>
            <a:schemeClr val="accent4">
              <a:lumMod val="60000"/>
              <a:lumOff val="40000"/>
            </a:schemeClr>
          </a:solidFill>
          <a:ln w="76200">
            <a:solidFill>
              <a:schemeClr val="tx1"/>
            </a:solidFill>
          </a:ln>
        </p:spPr>
        <p:txBody>
          <a:bodyPr wrap="square">
            <a:spAutoFit/>
          </a:bodyPr>
          <a:lstStyle/>
          <a:p>
            <a:pPr marL="327025" indent="-327025" defTabSz="457200">
              <a:lnSpc>
                <a:spcPct val="95000"/>
              </a:lnSpc>
              <a:spcBef>
                <a:spcPts val="700"/>
              </a:spcBef>
              <a:buFont typeface="Times New Roman" panose="02020603050405020304" pitchFamily="18" charset="0"/>
              <a:buChar char="•"/>
              <a:tabLst>
                <a:tab pos="436563" algn="l"/>
                <a:tab pos="885825" algn="l"/>
                <a:tab pos="1335088" algn="l"/>
                <a:tab pos="1784350" algn="l"/>
                <a:tab pos="2233613" algn="l"/>
                <a:tab pos="2682875" algn="l"/>
                <a:tab pos="3132138" algn="l"/>
                <a:tab pos="3581400" algn="l"/>
                <a:tab pos="4030663" algn="l"/>
                <a:tab pos="4479925" algn="l"/>
                <a:tab pos="4929188" algn="l"/>
                <a:tab pos="5378450" algn="l"/>
                <a:tab pos="5827713" algn="l"/>
                <a:tab pos="6276975" algn="l"/>
                <a:tab pos="6727825" algn="l"/>
                <a:tab pos="7175500" algn="l"/>
                <a:tab pos="7624763" algn="l"/>
                <a:tab pos="8074025" algn="l"/>
                <a:tab pos="8523288" algn="l"/>
                <a:tab pos="8972550" algn="l"/>
              </a:tabLst>
              <a:defRPr/>
            </a:pPr>
            <a:r>
              <a:rPr lang="en-GB" altLang="ru-RU" sz="2800" dirty="0" err="1">
                <a:solidFill>
                  <a:srgbClr val="1E5155">
                    <a:lumMod val="50000"/>
                  </a:srgbClr>
                </a:solidFill>
                <a:latin typeface="Times New Roman" panose="02020603050405020304" pitchFamily="18" charset="0"/>
                <a:cs typeface="Arial" pitchFamily="34" charset="0"/>
              </a:rPr>
              <a:t>За</a:t>
            </a:r>
            <a:r>
              <a:rPr lang="en-GB" altLang="ru-RU" sz="2800" dirty="0">
                <a:solidFill>
                  <a:srgbClr val="1E5155">
                    <a:lumMod val="50000"/>
                  </a:srgbClr>
                </a:solidFill>
                <a:latin typeface="Times New Roman" panose="02020603050405020304" pitchFamily="18" charset="0"/>
                <a:cs typeface="Arial" pitchFamily="34" charset="0"/>
              </a:rPr>
              <a:t> 3</a:t>
            </a:r>
            <a:r>
              <a:rPr lang="ru-RU" altLang="ru-RU" sz="2800" dirty="0">
                <a:solidFill>
                  <a:srgbClr val="1E5155">
                    <a:lumMod val="50000"/>
                  </a:srgbClr>
                </a:solidFill>
                <a:latin typeface="Times New Roman" panose="02020603050405020304" pitchFamily="18" charset="0"/>
                <a:cs typeface="Arial" pitchFamily="34" charset="0"/>
              </a:rPr>
              <a:t>8</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лет</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против</a:t>
            </a:r>
            <a:r>
              <a:rPr lang="en-GB" altLang="ru-RU" sz="2800" dirty="0">
                <a:solidFill>
                  <a:srgbClr val="1E5155">
                    <a:lumMod val="50000"/>
                  </a:srgbClr>
                </a:solidFill>
                <a:latin typeface="Times New Roman" panose="02020603050405020304" pitchFamily="18" charset="0"/>
                <a:cs typeface="Arial" pitchFamily="34" charset="0"/>
              </a:rPr>
              <a:t> ЭП </a:t>
            </a:r>
            <a:r>
              <a:rPr lang="en-GB" altLang="ru-RU" sz="2800" dirty="0" err="1">
                <a:solidFill>
                  <a:srgbClr val="1E5155">
                    <a:lumMod val="50000"/>
                  </a:srgbClr>
                </a:solidFill>
                <a:latin typeface="Times New Roman" panose="02020603050405020304" pitchFamily="18" charset="0"/>
                <a:cs typeface="Arial" pitchFamily="34" charset="0"/>
              </a:rPr>
              <a:t>привито</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более</a:t>
            </a:r>
            <a:r>
              <a:rPr lang="en-GB" altLang="ru-RU" sz="2800" dirty="0">
                <a:solidFill>
                  <a:srgbClr val="1E5155">
                    <a:lumMod val="50000"/>
                  </a:srgbClr>
                </a:solidFill>
                <a:latin typeface="Times New Roman" panose="02020603050405020304" pitchFamily="18" charset="0"/>
                <a:cs typeface="Arial" pitchFamily="34" charset="0"/>
              </a:rPr>
              <a:t> </a:t>
            </a:r>
            <a:r>
              <a:rPr lang="ru-RU" altLang="ru-RU" sz="2800" dirty="0">
                <a:solidFill>
                  <a:srgbClr val="1E5155">
                    <a:lumMod val="50000"/>
                  </a:srgbClr>
                </a:solidFill>
                <a:latin typeface="Times New Roman" panose="02020603050405020304" pitchFamily="18" charset="0"/>
                <a:cs typeface="Arial" pitchFamily="34" charset="0"/>
              </a:rPr>
              <a:t>200</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млн</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человек</a:t>
            </a:r>
            <a:endParaRPr lang="en-GB" altLang="ru-RU" sz="2800" dirty="0">
              <a:solidFill>
                <a:srgbClr val="1E5155">
                  <a:lumMod val="50000"/>
                </a:srgbClr>
              </a:solidFill>
              <a:latin typeface="Times New Roman" panose="02020603050405020304" pitchFamily="18" charset="0"/>
              <a:cs typeface="Arial" pitchFamily="34" charset="0"/>
            </a:endParaRPr>
          </a:p>
          <a:p>
            <a:pPr marL="327025" indent="-327025" defTabSz="457200">
              <a:lnSpc>
                <a:spcPct val="95000"/>
              </a:lnSpc>
              <a:spcBef>
                <a:spcPts val="700"/>
              </a:spcBef>
              <a:buFont typeface="Times New Roman" panose="02020603050405020304" pitchFamily="18" charset="0"/>
              <a:buChar char="•"/>
              <a:tabLst>
                <a:tab pos="436563" algn="l"/>
                <a:tab pos="885825" algn="l"/>
                <a:tab pos="1335088" algn="l"/>
                <a:tab pos="1784350" algn="l"/>
                <a:tab pos="2233613" algn="l"/>
                <a:tab pos="2682875" algn="l"/>
                <a:tab pos="3132138" algn="l"/>
                <a:tab pos="3581400" algn="l"/>
                <a:tab pos="4030663" algn="l"/>
                <a:tab pos="4479925" algn="l"/>
                <a:tab pos="4929188" algn="l"/>
                <a:tab pos="5378450" algn="l"/>
                <a:tab pos="5827713" algn="l"/>
                <a:tab pos="6276975" algn="l"/>
                <a:tab pos="6727825" algn="l"/>
                <a:tab pos="7175500" algn="l"/>
                <a:tab pos="7624763" algn="l"/>
                <a:tab pos="8074025" algn="l"/>
                <a:tab pos="8523288" algn="l"/>
                <a:tab pos="8972550" algn="l"/>
              </a:tabLst>
              <a:defRPr/>
            </a:pPr>
            <a:r>
              <a:rPr lang="en-GB" altLang="ru-RU" sz="2800" dirty="0" err="1">
                <a:solidFill>
                  <a:srgbClr val="1E5155">
                    <a:lumMod val="50000"/>
                  </a:srgbClr>
                </a:solidFill>
                <a:latin typeface="Times New Roman" panose="02020603050405020304" pitchFamily="18" charset="0"/>
                <a:cs typeface="Arial" pitchFamily="34" charset="0"/>
              </a:rPr>
              <a:t>Сохранено</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более</a:t>
            </a:r>
            <a:r>
              <a:rPr lang="en-GB" altLang="ru-RU" sz="2800" dirty="0">
                <a:solidFill>
                  <a:srgbClr val="1E5155">
                    <a:lumMod val="50000"/>
                  </a:srgbClr>
                </a:solidFill>
                <a:latin typeface="Times New Roman" panose="02020603050405020304" pitchFamily="18" charset="0"/>
                <a:cs typeface="Arial" pitchFamily="34" charset="0"/>
              </a:rPr>
              <a:t> </a:t>
            </a:r>
            <a:r>
              <a:rPr lang="ru-RU" altLang="ru-RU" sz="2800" dirty="0">
                <a:solidFill>
                  <a:srgbClr val="1E5155">
                    <a:lumMod val="50000"/>
                  </a:srgbClr>
                </a:solidFill>
                <a:latin typeface="Times New Roman" panose="02020603050405020304" pitchFamily="18" charset="0"/>
                <a:cs typeface="Arial" pitchFamily="34" charset="0"/>
              </a:rPr>
              <a:t>2</a:t>
            </a:r>
            <a:r>
              <a:rPr lang="en-GB" altLang="ru-RU" sz="2800" dirty="0">
                <a:solidFill>
                  <a:srgbClr val="1E5155">
                    <a:lumMod val="50000"/>
                  </a:srgbClr>
                </a:solidFill>
                <a:latin typeface="Times New Roman" panose="02020603050405020304" pitchFamily="18" charset="0"/>
                <a:cs typeface="Arial" pitchFamily="34" charset="0"/>
              </a:rPr>
              <a:t>500 </a:t>
            </a:r>
            <a:r>
              <a:rPr lang="en-GB" altLang="ru-RU" sz="2800" dirty="0" err="1">
                <a:solidFill>
                  <a:srgbClr val="1E5155">
                    <a:lumMod val="50000"/>
                  </a:srgbClr>
                </a:solidFill>
                <a:latin typeface="Times New Roman" panose="02020603050405020304" pitchFamily="18" charset="0"/>
                <a:cs typeface="Arial" pitchFamily="34" charset="0"/>
              </a:rPr>
              <a:t>жизней</a:t>
            </a:r>
            <a:r>
              <a:rPr lang="en-GB" altLang="ru-RU" sz="2800" dirty="0">
                <a:solidFill>
                  <a:srgbClr val="1E5155">
                    <a:lumMod val="50000"/>
                  </a:srgbClr>
                </a:solidFill>
                <a:latin typeface="Times New Roman" panose="02020603050405020304" pitchFamily="18" charset="0"/>
                <a:cs typeface="Arial" pitchFamily="34" charset="0"/>
              </a:rPr>
              <a:t> </a:t>
            </a:r>
          </a:p>
          <a:p>
            <a:pPr marL="327025" indent="-327025" defTabSz="457200">
              <a:lnSpc>
                <a:spcPct val="95000"/>
              </a:lnSpc>
              <a:spcBef>
                <a:spcPts val="700"/>
              </a:spcBef>
              <a:buFont typeface="Times New Roman" panose="02020603050405020304" pitchFamily="18" charset="0"/>
              <a:buChar char="•"/>
              <a:tabLst>
                <a:tab pos="436563" algn="l"/>
                <a:tab pos="885825" algn="l"/>
                <a:tab pos="1335088" algn="l"/>
                <a:tab pos="1784350" algn="l"/>
                <a:tab pos="2233613" algn="l"/>
                <a:tab pos="2682875" algn="l"/>
                <a:tab pos="3132138" algn="l"/>
                <a:tab pos="3581400" algn="l"/>
                <a:tab pos="4030663" algn="l"/>
                <a:tab pos="4479925" algn="l"/>
                <a:tab pos="4929188" algn="l"/>
                <a:tab pos="5378450" algn="l"/>
                <a:tab pos="5827713" algn="l"/>
                <a:tab pos="6276975" algn="l"/>
                <a:tab pos="6727825" algn="l"/>
                <a:tab pos="7175500" algn="l"/>
                <a:tab pos="7624763" algn="l"/>
                <a:tab pos="8074025" algn="l"/>
                <a:tab pos="8523288" algn="l"/>
                <a:tab pos="8972550" algn="l"/>
              </a:tabLst>
              <a:defRPr/>
            </a:pPr>
            <a:r>
              <a:rPr lang="en-GB" altLang="ru-RU" sz="2800" dirty="0" err="1">
                <a:solidFill>
                  <a:srgbClr val="1E5155">
                    <a:lumMod val="50000"/>
                  </a:srgbClr>
                </a:solidFill>
                <a:latin typeface="Times New Roman" panose="02020603050405020304" pitchFamily="18" charset="0"/>
                <a:cs typeface="Arial" pitchFamily="34" charset="0"/>
              </a:rPr>
              <a:t>Предотвращено</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около</a:t>
            </a:r>
            <a:r>
              <a:rPr lang="en-GB" altLang="ru-RU" sz="2800" dirty="0">
                <a:solidFill>
                  <a:srgbClr val="1E5155">
                    <a:lumMod val="50000"/>
                  </a:srgbClr>
                </a:solidFill>
                <a:latin typeface="Times New Roman" panose="02020603050405020304" pitchFamily="18" charset="0"/>
                <a:cs typeface="Arial" pitchFamily="34" charset="0"/>
              </a:rPr>
              <a:t> </a:t>
            </a:r>
            <a:r>
              <a:rPr lang="ru-RU" altLang="ru-RU" sz="2800" dirty="0">
                <a:solidFill>
                  <a:srgbClr val="1E5155">
                    <a:lumMod val="50000"/>
                  </a:srgbClr>
                </a:solidFill>
                <a:latin typeface="Times New Roman" panose="02020603050405020304" pitchFamily="18" charset="0"/>
                <a:cs typeface="Arial" pitchFamily="34" charset="0"/>
              </a:rPr>
              <a:t>2</a:t>
            </a:r>
            <a:r>
              <a:rPr lang="en-GB" altLang="ru-RU" sz="2800" dirty="0">
                <a:solidFill>
                  <a:srgbClr val="1E5155">
                    <a:lumMod val="50000"/>
                  </a:srgbClr>
                </a:solidFill>
                <a:latin typeface="Times New Roman" panose="02020603050405020304" pitchFamily="18" charset="0"/>
                <a:cs typeface="Arial" pitchFamily="34" charset="0"/>
              </a:rPr>
              <a:t>,5 </a:t>
            </a:r>
            <a:r>
              <a:rPr lang="en-GB" altLang="ru-RU" sz="2800" dirty="0" err="1">
                <a:solidFill>
                  <a:srgbClr val="1E5155">
                    <a:lumMod val="50000"/>
                  </a:srgbClr>
                </a:solidFill>
                <a:latin typeface="Times New Roman" panose="02020603050405020304" pitchFamily="18" charset="0"/>
                <a:cs typeface="Arial" pitchFamily="34" charset="0"/>
              </a:rPr>
              <a:t>млн</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случаев</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серозного</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менингита</a:t>
            </a:r>
            <a:r>
              <a:rPr lang="en-GB" altLang="ru-RU" sz="2800" dirty="0">
                <a:solidFill>
                  <a:srgbClr val="1E5155">
                    <a:lumMod val="50000"/>
                  </a:srgbClr>
                </a:solidFill>
                <a:latin typeface="Times New Roman" panose="02020603050405020304" pitchFamily="18" charset="0"/>
                <a:cs typeface="Arial" pitchFamily="34" charset="0"/>
              </a:rPr>
              <a:t>, </a:t>
            </a:r>
            <a:r>
              <a:rPr lang="ru-RU" altLang="ru-RU" sz="2800" dirty="0" smtClean="0">
                <a:solidFill>
                  <a:srgbClr val="1E5155">
                    <a:lumMod val="50000"/>
                  </a:srgbClr>
                </a:solidFill>
                <a:latin typeface="Times New Roman" panose="02020603050405020304" pitchFamily="18" charset="0"/>
                <a:cs typeface="Arial" pitchFamily="34" charset="0"/>
              </a:rPr>
              <a:t/>
            </a:r>
            <a:br>
              <a:rPr lang="ru-RU" altLang="ru-RU" sz="2800" dirty="0" smtClean="0">
                <a:solidFill>
                  <a:srgbClr val="1E5155">
                    <a:lumMod val="50000"/>
                  </a:srgbClr>
                </a:solidFill>
                <a:latin typeface="Times New Roman" panose="02020603050405020304" pitchFamily="18" charset="0"/>
                <a:cs typeface="Arial" pitchFamily="34" charset="0"/>
              </a:rPr>
            </a:br>
            <a:r>
              <a:rPr lang="en-GB" altLang="ru-RU" sz="2800" dirty="0" smtClean="0">
                <a:solidFill>
                  <a:srgbClr val="1E5155">
                    <a:lumMod val="50000"/>
                  </a:srgbClr>
                </a:solidFill>
                <a:latin typeface="Times New Roman" panose="02020603050405020304" pitchFamily="18" charset="0"/>
                <a:cs typeface="Arial" pitchFamily="34" charset="0"/>
              </a:rPr>
              <a:t>а </a:t>
            </a:r>
            <a:r>
              <a:rPr lang="en-GB" altLang="ru-RU" sz="2800" dirty="0" err="1">
                <a:solidFill>
                  <a:srgbClr val="1E5155">
                    <a:lumMod val="50000"/>
                  </a:srgbClr>
                </a:solidFill>
                <a:latin typeface="Times New Roman" panose="02020603050405020304" pitchFamily="18" charset="0"/>
                <a:cs typeface="Arial" pitchFamily="34" charset="0"/>
              </a:rPr>
              <a:t>так</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же</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десятки</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тысяч</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случаев</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орхита</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оофорита</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панкреатита</a:t>
            </a:r>
            <a:r>
              <a:rPr lang="en-GB" altLang="ru-RU" sz="2800" dirty="0">
                <a:solidFill>
                  <a:srgbClr val="1E5155">
                    <a:lumMod val="50000"/>
                  </a:srgbClr>
                </a:solidFill>
                <a:latin typeface="Times New Roman" panose="02020603050405020304" pitchFamily="18" charset="0"/>
                <a:cs typeface="Arial" pitchFamily="34" charset="0"/>
              </a:rPr>
              <a:t>, а в </a:t>
            </a:r>
            <a:r>
              <a:rPr lang="en-GB" altLang="ru-RU" sz="2800" dirty="0" err="1" smtClean="0">
                <a:solidFill>
                  <a:srgbClr val="1E5155">
                    <a:lumMod val="50000"/>
                  </a:srgbClr>
                </a:solidFill>
                <a:latin typeface="Times New Roman" panose="02020603050405020304" pitchFamily="18" charset="0"/>
                <a:cs typeface="Arial" pitchFamily="34" charset="0"/>
              </a:rPr>
              <a:t>последстви</a:t>
            </a:r>
            <a:r>
              <a:rPr lang="ru-RU" altLang="ru-RU" sz="2800" dirty="0" smtClean="0">
                <a:solidFill>
                  <a:srgbClr val="1E5155">
                    <a:lumMod val="50000"/>
                  </a:srgbClr>
                </a:solidFill>
                <a:latin typeface="Times New Roman" panose="02020603050405020304" pitchFamily="18" charset="0"/>
                <a:cs typeface="Arial" pitchFamily="34" charset="0"/>
              </a:rPr>
              <a:t>и</a:t>
            </a:r>
            <a:r>
              <a:rPr lang="en-GB" altLang="ru-RU" sz="2800" dirty="0" smtClean="0">
                <a:solidFill>
                  <a:srgbClr val="1E5155">
                    <a:lumMod val="50000"/>
                  </a:srgbClr>
                </a:solidFill>
                <a:latin typeface="Times New Roman" panose="02020603050405020304" pitchFamily="18" charset="0"/>
                <a:cs typeface="Arial" pitchFamily="34" charset="0"/>
              </a:rPr>
              <a:t> </a:t>
            </a:r>
            <a:r>
              <a:rPr lang="en-GB" altLang="ru-RU" sz="2800" dirty="0">
                <a:solidFill>
                  <a:srgbClr val="1E5155">
                    <a:lumMod val="50000"/>
                  </a:srgbClr>
                </a:solidFill>
                <a:latin typeface="Times New Roman" panose="02020603050405020304" pitchFamily="18" charset="0"/>
                <a:cs typeface="Arial" pitchFamily="34" charset="0"/>
              </a:rPr>
              <a:t>и </a:t>
            </a:r>
            <a:r>
              <a:rPr lang="en-GB" altLang="ru-RU" sz="2800" dirty="0" err="1">
                <a:solidFill>
                  <a:srgbClr val="1E5155">
                    <a:lumMod val="50000"/>
                  </a:srgbClr>
                </a:solidFill>
                <a:latin typeface="Times New Roman" panose="02020603050405020304" pitchFamily="18" charset="0"/>
                <a:cs typeface="Arial" pitchFamily="34" charset="0"/>
              </a:rPr>
              <a:t>сахарного</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диабета</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мастита</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преждевременных</a:t>
            </a:r>
            <a:r>
              <a:rPr lang="en-GB" altLang="ru-RU" sz="2800" dirty="0">
                <a:solidFill>
                  <a:srgbClr val="1E5155">
                    <a:lumMod val="50000"/>
                  </a:srgbClr>
                </a:solidFill>
                <a:latin typeface="Times New Roman" panose="02020603050405020304" pitchFamily="18" charset="0"/>
                <a:cs typeface="Arial" pitchFamily="34" charset="0"/>
              </a:rPr>
              <a:t> </a:t>
            </a:r>
            <a:r>
              <a:rPr lang="en-GB" altLang="ru-RU" sz="2800" dirty="0" err="1">
                <a:solidFill>
                  <a:srgbClr val="1E5155">
                    <a:lumMod val="50000"/>
                  </a:srgbClr>
                </a:solidFill>
                <a:latin typeface="Times New Roman" panose="02020603050405020304" pitchFamily="18" charset="0"/>
                <a:cs typeface="Arial" pitchFamily="34" charset="0"/>
              </a:rPr>
              <a:t>абортов</a:t>
            </a:r>
            <a:r>
              <a:rPr lang="en-GB" altLang="ru-RU" sz="2800" dirty="0">
                <a:solidFill>
                  <a:srgbClr val="1E5155">
                    <a:lumMod val="50000"/>
                  </a:srgbClr>
                </a:solidFill>
                <a:latin typeface="Times New Roman" panose="02020603050405020304" pitchFamily="18" charset="0"/>
                <a:cs typeface="Arial" pitchFamily="34" charset="0"/>
              </a:rPr>
              <a:t> и </a:t>
            </a:r>
            <a:r>
              <a:rPr lang="en-GB" altLang="ru-RU" sz="2800" dirty="0" err="1">
                <a:solidFill>
                  <a:srgbClr val="1E5155">
                    <a:lumMod val="50000"/>
                  </a:srgbClr>
                </a:solidFill>
                <a:latin typeface="Times New Roman" panose="02020603050405020304" pitchFamily="18" charset="0"/>
                <a:cs typeface="Arial" pitchFamily="34" charset="0"/>
              </a:rPr>
              <a:t>др</a:t>
            </a:r>
            <a:r>
              <a:rPr lang="en-GB" altLang="ru-RU" sz="2800" dirty="0">
                <a:solidFill>
                  <a:srgbClr val="1E5155">
                    <a:lumMod val="50000"/>
                  </a:srgbClr>
                </a:solidFill>
                <a:latin typeface="Times New Roman" panose="02020603050405020304" pitchFamily="18" charset="0"/>
                <a:cs typeface="Arial" pitchFamily="34" charset="0"/>
              </a:rPr>
              <a:t>.</a:t>
            </a:r>
          </a:p>
        </p:txBody>
      </p:sp>
    </p:spTree>
    <p:extLst>
      <p:ext uri="{BB962C8B-B14F-4D97-AF65-F5344CB8AC3E}">
        <p14:creationId xmlns:p14="http://schemas.microsoft.com/office/powerpoint/2010/main" val="4027327869"/>
      </p:ext>
    </p:extLst>
  </p:cSld>
  <p:clrMapOvr>
    <a:masterClrMapping/>
  </p:clrMapOvr>
  <p:transition spd="med">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3"/>
          <p:cNvSpPr>
            <a:spLocks noGrp="1" noChangeArrowheads="1"/>
          </p:cNvSpPr>
          <p:nvPr>
            <p:ph type="body" idx="1"/>
          </p:nvPr>
        </p:nvSpPr>
        <p:spPr>
          <a:xfrm>
            <a:off x="551384" y="1878014"/>
            <a:ext cx="11245154" cy="4899025"/>
          </a:xfrm>
        </p:spPr>
        <p:txBody>
          <a:bodyPr/>
          <a:lstStyle/>
          <a:p>
            <a:pPr marL="0" indent="0" algn="just">
              <a:lnSpc>
                <a:spcPct val="150000"/>
              </a:lnSpc>
              <a:spcBef>
                <a:spcPct val="0"/>
              </a:spcBef>
              <a:buNone/>
            </a:pPr>
            <a:endParaRPr lang="ru-RU" altLang="ru-RU" sz="1600" b="1" dirty="0">
              <a:solidFill>
                <a:schemeClr val="tx2"/>
              </a:solidFill>
            </a:endParaRPr>
          </a:p>
          <a:p>
            <a:pPr marL="0" indent="0" algn="just">
              <a:lnSpc>
                <a:spcPct val="150000"/>
              </a:lnSpc>
              <a:spcBef>
                <a:spcPct val="0"/>
              </a:spcBef>
              <a:buNone/>
            </a:pPr>
            <a:r>
              <a:rPr lang="ru-RU" altLang="ru-RU" sz="2000" b="1" dirty="0">
                <a:solidFill>
                  <a:srgbClr val="FF0000"/>
                </a:solidFill>
              </a:rPr>
              <a:t>вакцинация от гриппа: </a:t>
            </a:r>
            <a:r>
              <a:rPr lang="ru-RU" altLang="ru-RU" sz="2000" b="1" dirty="0">
                <a:solidFill>
                  <a:schemeClr val="tx2"/>
                </a:solidFill>
              </a:rPr>
              <a:t>введены новые контингенты подлежащих вакцинации, </a:t>
            </a:r>
            <a:r>
              <a:rPr lang="ru-RU" altLang="ru-RU" sz="2000" b="1" dirty="0" smtClean="0">
                <a:solidFill>
                  <a:schemeClr val="tx2"/>
                </a:solidFill>
              </a:rPr>
              <a:t/>
            </a:r>
            <a:br>
              <a:rPr lang="ru-RU" altLang="ru-RU" sz="2000" b="1" dirty="0" smtClean="0">
                <a:solidFill>
                  <a:schemeClr val="tx2"/>
                </a:solidFill>
              </a:rPr>
            </a:br>
            <a:r>
              <a:rPr lang="ru-RU" altLang="ru-RU" sz="2000" b="1" dirty="0" smtClean="0">
                <a:solidFill>
                  <a:schemeClr val="tx2"/>
                </a:solidFill>
              </a:rPr>
              <a:t>а </a:t>
            </a:r>
            <a:r>
              <a:rPr lang="ru-RU" altLang="ru-RU" sz="2000" b="1" dirty="0">
                <a:solidFill>
                  <a:schemeClr val="tx2"/>
                </a:solidFill>
              </a:rPr>
              <a:t>именно</a:t>
            </a:r>
          </a:p>
          <a:p>
            <a:pPr marL="0" indent="0" algn="just">
              <a:lnSpc>
                <a:spcPct val="150000"/>
              </a:lnSpc>
              <a:spcBef>
                <a:spcPct val="0"/>
              </a:spcBef>
              <a:buNone/>
            </a:pPr>
            <a:r>
              <a:rPr lang="ru-RU" altLang="ru-RU" sz="2000" b="1" dirty="0">
                <a:solidFill>
                  <a:schemeClr val="tx2"/>
                </a:solidFill>
              </a:rPr>
              <a:t>-   беременные </a:t>
            </a:r>
            <a:r>
              <a:rPr lang="ru-RU" altLang="ru-RU" sz="2000" b="1" dirty="0" smtClean="0">
                <a:solidFill>
                  <a:schemeClr val="tx2"/>
                </a:solidFill>
              </a:rPr>
              <a:t>женщины;</a:t>
            </a:r>
            <a:endParaRPr lang="ru-RU" altLang="ru-RU" sz="2000" b="1" dirty="0">
              <a:solidFill>
                <a:schemeClr val="tx2"/>
              </a:solidFill>
            </a:endParaRPr>
          </a:p>
          <a:p>
            <a:pPr marL="0" indent="0" algn="just">
              <a:lnSpc>
                <a:spcPct val="150000"/>
              </a:lnSpc>
              <a:spcBef>
                <a:spcPct val="0"/>
              </a:spcBef>
              <a:buNone/>
            </a:pPr>
            <a:r>
              <a:rPr lang="ru-RU" altLang="ru-RU" sz="2000" b="1" dirty="0">
                <a:solidFill>
                  <a:schemeClr val="tx2"/>
                </a:solidFill>
              </a:rPr>
              <a:t>-   лица, подлежащие призыву на военную </a:t>
            </a:r>
            <a:r>
              <a:rPr lang="ru-RU" altLang="ru-RU" sz="2000" b="1" dirty="0" smtClean="0">
                <a:solidFill>
                  <a:schemeClr val="tx2"/>
                </a:solidFill>
              </a:rPr>
              <a:t>службу;</a:t>
            </a:r>
            <a:endParaRPr lang="ru-RU" altLang="ru-RU" sz="2000" b="1" dirty="0">
              <a:solidFill>
                <a:schemeClr val="tx2"/>
              </a:solidFill>
            </a:endParaRPr>
          </a:p>
          <a:p>
            <a:pPr marL="0" indent="0" algn="just">
              <a:lnSpc>
                <a:spcPct val="150000"/>
              </a:lnSpc>
              <a:spcBef>
                <a:spcPct val="0"/>
              </a:spcBef>
              <a:buNone/>
            </a:pPr>
            <a:r>
              <a:rPr lang="ru-RU" altLang="ru-RU" sz="2000" b="1" dirty="0">
                <a:solidFill>
                  <a:schemeClr val="tx2"/>
                </a:solidFill>
              </a:rPr>
              <a:t>- лица с хроническими заболеваниями, в том числе с заболеваниями легких, сердечно-сосудистой системы, метаболическими нарушениями и ожирением</a:t>
            </a:r>
          </a:p>
        </p:txBody>
      </p:sp>
      <p:sp>
        <p:nvSpPr>
          <p:cNvPr id="5122" name="Rectangle 2"/>
          <p:cNvSpPr>
            <a:spLocks noGrp="1" noChangeArrowheads="1"/>
          </p:cNvSpPr>
          <p:nvPr>
            <p:ph type="title"/>
          </p:nvPr>
        </p:nvSpPr>
        <p:spPr>
          <a:xfrm>
            <a:off x="860624" y="1340768"/>
            <a:ext cx="10369152" cy="1368425"/>
          </a:xfrm>
        </p:spPr>
        <p:txBody>
          <a:bodyPr rtlCol="0">
            <a:noAutofit/>
          </a:bodyPr>
          <a:lstStyle/>
          <a:p>
            <a:pPr defTabSz="894887" fontAlgn="auto">
              <a:spcAft>
                <a:spcPts val="0"/>
              </a:spcAft>
              <a:defRPr/>
            </a:pPr>
            <a:r>
              <a:rPr lang="ru-RU" sz="2800" b="1" dirty="0"/>
              <a:t>Новое в НАЦИОНАЛЬНОМ КАЛЕНДАРЕ</a:t>
            </a:r>
            <a:r>
              <a:rPr lang="ru-RU" sz="1600" b="1" dirty="0"/>
              <a:t/>
            </a:r>
            <a:br>
              <a:rPr lang="ru-RU" sz="1600" b="1" dirty="0"/>
            </a:br>
            <a:endParaRPr lang="ru-RU" sz="1600" b="1" dirty="0">
              <a:ea typeface="+mn-ea"/>
            </a:endParaRPr>
          </a:p>
        </p:txBody>
      </p:sp>
      <p:sp>
        <p:nvSpPr>
          <p:cNvPr id="2" name="Прямоугольник 1"/>
          <p:cNvSpPr/>
          <p:nvPr/>
        </p:nvSpPr>
        <p:spPr>
          <a:xfrm>
            <a:off x="158316" y="5373216"/>
            <a:ext cx="11875367" cy="461665"/>
          </a:xfrm>
          <a:prstGeom prst="rect">
            <a:avLst/>
          </a:prstGeom>
        </p:spPr>
        <p:txBody>
          <a:bodyPr wrap="square">
            <a:spAutoFit/>
          </a:bodyPr>
          <a:lstStyle/>
          <a:p>
            <a:pPr eaLnBrk="0" fontAlgn="base" hangingPunct="0">
              <a:spcBef>
                <a:spcPct val="20000"/>
              </a:spcBef>
              <a:spcAft>
                <a:spcPct val="0"/>
              </a:spcAft>
              <a:defRPr/>
            </a:pPr>
            <a:r>
              <a:rPr lang="ru-RU" sz="2400" b="1" kern="0" dirty="0">
                <a:solidFill>
                  <a:srgbClr val="FF0000"/>
                </a:solidFill>
              </a:rPr>
              <a:t>Вакцинация - единственное средство профилактики, </a:t>
            </a:r>
            <a:r>
              <a:rPr lang="ru-RU" sz="2400" b="1" kern="0" dirty="0" smtClean="0">
                <a:solidFill>
                  <a:srgbClr val="FF0000"/>
                </a:solidFill>
              </a:rPr>
              <a:t>рекомендованное </a:t>
            </a:r>
            <a:r>
              <a:rPr lang="ru-RU" sz="2400" b="1" kern="0" dirty="0">
                <a:solidFill>
                  <a:srgbClr val="FF0000"/>
                </a:solidFill>
              </a:rPr>
              <a:t>ВОЗ</a:t>
            </a:r>
          </a:p>
        </p:txBody>
      </p:sp>
      <p:sp>
        <p:nvSpPr>
          <p:cNvPr id="3" name="Прямоугольник 2"/>
          <p:cNvSpPr/>
          <p:nvPr/>
        </p:nvSpPr>
        <p:spPr>
          <a:xfrm>
            <a:off x="860624" y="562077"/>
            <a:ext cx="2592288" cy="646331"/>
          </a:xfrm>
          <a:prstGeom prst="rect">
            <a:avLst/>
          </a:prstGeom>
        </p:spPr>
        <p:txBody>
          <a:bodyPr wrap="square">
            <a:spAutoFit/>
          </a:bodyPr>
          <a:lstStyle/>
          <a:p>
            <a:pPr algn="ctr" defTabSz="817563" eaLnBrk="0" fontAlgn="base" hangingPunct="0">
              <a:spcBef>
                <a:spcPct val="0"/>
              </a:spcBef>
              <a:spcAft>
                <a:spcPct val="0"/>
              </a:spcAft>
              <a:defRPr/>
            </a:pPr>
            <a:r>
              <a:rPr lang="ru-RU" sz="3600" b="1" dirty="0">
                <a:solidFill>
                  <a:srgbClr val="990000"/>
                </a:solidFill>
                <a:effectLst>
                  <a:outerShdw blurRad="38100" dist="38100" dir="2700000" algn="tl">
                    <a:srgbClr val="000000"/>
                  </a:outerShdw>
                </a:effectLst>
              </a:rPr>
              <a:t>ГРИПП</a:t>
            </a:r>
          </a:p>
        </p:txBody>
      </p:sp>
      <p:sp>
        <p:nvSpPr>
          <p:cNvPr id="4" name="Прямоугольник 3"/>
          <p:cNvSpPr/>
          <p:nvPr/>
        </p:nvSpPr>
        <p:spPr>
          <a:xfrm>
            <a:off x="3719736" y="429717"/>
            <a:ext cx="8076802" cy="1077218"/>
          </a:xfrm>
          <a:prstGeom prst="rect">
            <a:avLst/>
          </a:prstGeom>
        </p:spPr>
        <p:txBody>
          <a:bodyPr wrap="square">
            <a:spAutoFit/>
          </a:bodyPr>
          <a:lstStyle/>
          <a:p>
            <a:pPr fontAlgn="base">
              <a:spcBef>
                <a:spcPct val="0"/>
              </a:spcBef>
              <a:spcAft>
                <a:spcPct val="0"/>
              </a:spcAft>
              <a:defRPr/>
            </a:pPr>
            <a:r>
              <a:rPr lang="ru-RU" altLang="ru-RU" sz="3200" b="1" kern="0" dirty="0" smtClean="0">
                <a:solidFill>
                  <a:srgbClr val="000000"/>
                </a:solidFill>
              </a:rPr>
              <a:t>неизменное </a:t>
            </a:r>
            <a:r>
              <a:rPr lang="ru-RU" altLang="ru-RU" sz="3200" b="1" kern="0" dirty="0">
                <a:solidFill>
                  <a:srgbClr val="000000"/>
                </a:solidFill>
              </a:rPr>
              <a:t>заболевание, вызываемое изменчивым </a:t>
            </a:r>
            <a:r>
              <a:rPr lang="ru-RU" altLang="ru-RU" sz="3200" b="1" kern="0" dirty="0" smtClean="0">
                <a:solidFill>
                  <a:srgbClr val="000000"/>
                </a:solidFill>
              </a:rPr>
              <a:t>вирусом</a:t>
            </a:r>
            <a:endParaRPr lang="ru-RU" sz="3200" b="1" dirty="0">
              <a:solidFill>
                <a:srgbClr val="000000"/>
              </a:solidFill>
            </a:endParaRPr>
          </a:p>
        </p:txBody>
      </p:sp>
    </p:spTree>
    <p:extLst>
      <p:ext uri="{BB962C8B-B14F-4D97-AF65-F5344CB8AC3E}">
        <p14:creationId xmlns:p14="http://schemas.microsoft.com/office/powerpoint/2010/main" val="3389696760"/>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6" name="Rectangle 2"/>
          <p:cNvSpPr>
            <a:spLocks noGrp="1" noChangeArrowheads="1"/>
          </p:cNvSpPr>
          <p:nvPr>
            <p:ph type="body" idx="1"/>
          </p:nvPr>
        </p:nvSpPr>
        <p:spPr>
          <a:xfrm>
            <a:off x="551384" y="1557339"/>
            <a:ext cx="11233248" cy="4638675"/>
          </a:xfrm>
        </p:spPr>
        <p:txBody>
          <a:bodyPr/>
          <a:lstStyle/>
          <a:p>
            <a:pPr eaLnBrk="1" hangingPunct="1">
              <a:spcBef>
                <a:spcPct val="60000"/>
              </a:spcBef>
              <a:buClr>
                <a:srgbClr val="A50021"/>
              </a:buClr>
              <a:buFont typeface="Wingdings" pitchFamily="2" charset="2"/>
              <a:buChar char="Ø"/>
            </a:pPr>
            <a:r>
              <a:rPr lang="ru-RU" altLang="ru-RU" sz="2200" b="1" dirty="0">
                <a:latin typeface="Arial Unicode MS" pitchFamily="34" charset="-128"/>
                <a:ea typeface="Arial Unicode MS" pitchFamily="34" charset="-128"/>
                <a:cs typeface="Arial Unicode MS" pitchFamily="34" charset="-128"/>
              </a:rPr>
              <a:t>Самая частая бактериальная инфекция человека (ВОЗ)</a:t>
            </a:r>
          </a:p>
          <a:p>
            <a:pPr lvl="1" eaLnBrk="1" hangingPunct="1">
              <a:spcBef>
                <a:spcPct val="60000"/>
              </a:spcBef>
              <a:buClr>
                <a:srgbClr val="A50021"/>
              </a:buClr>
              <a:buFont typeface="Wingdings" pitchFamily="2" charset="2"/>
              <a:buChar char="Ø"/>
            </a:pPr>
            <a:r>
              <a:rPr lang="ru-RU" altLang="ru-RU" sz="2200" b="1" dirty="0">
                <a:latin typeface="Arial Unicode MS" pitchFamily="34" charset="-128"/>
                <a:ea typeface="Arial Unicode MS" pitchFamily="34" charset="-128"/>
                <a:cs typeface="Arial Unicode MS" pitchFamily="34" charset="-128"/>
              </a:rPr>
              <a:t>в среднем </a:t>
            </a:r>
            <a:r>
              <a:rPr lang="de-DE" altLang="ru-RU" sz="2200" b="1" dirty="0">
                <a:solidFill>
                  <a:srgbClr val="FF0000"/>
                </a:solidFill>
                <a:latin typeface="Arial Unicode MS" pitchFamily="34" charset="-128"/>
                <a:ea typeface="Arial Unicode MS" pitchFamily="34" charset="-128"/>
                <a:cs typeface="Arial Unicode MS" pitchFamily="34" charset="-128"/>
              </a:rPr>
              <a:t>1,6 </a:t>
            </a:r>
            <a:r>
              <a:rPr lang="ru-RU" altLang="ru-RU" sz="2200" b="1" dirty="0">
                <a:solidFill>
                  <a:srgbClr val="FF0000"/>
                </a:solidFill>
                <a:latin typeface="Arial Unicode MS" pitchFamily="34" charset="-128"/>
                <a:ea typeface="Arial Unicode MS" pitchFamily="34" charset="-128"/>
                <a:cs typeface="Arial Unicode MS" pitchFamily="34" charset="-128"/>
              </a:rPr>
              <a:t>миллионов</a:t>
            </a:r>
            <a:r>
              <a:rPr lang="ru-RU" altLang="ru-RU" sz="2200" b="1" dirty="0">
                <a:latin typeface="Arial Unicode MS" pitchFamily="34" charset="-128"/>
                <a:ea typeface="Arial Unicode MS" pitchFamily="34" charset="-128"/>
                <a:cs typeface="Arial Unicode MS" pitchFamily="34" charset="-128"/>
              </a:rPr>
              <a:t> смертей в год</a:t>
            </a:r>
            <a:endParaRPr lang="de-DE" altLang="ru-RU" sz="2200" b="1" dirty="0">
              <a:latin typeface="Arial Unicode MS" pitchFamily="34" charset="-128"/>
              <a:ea typeface="Arial Unicode MS" pitchFamily="34" charset="-128"/>
              <a:cs typeface="Arial Unicode MS" pitchFamily="34" charset="-128"/>
            </a:endParaRPr>
          </a:p>
          <a:p>
            <a:pPr lvl="1" eaLnBrk="1" hangingPunct="1">
              <a:spcBef>
                <a:spcPct val="60000"/>
              </a:spcBef>
              <a:buClr>
                <a:srgbClr val="A50021"/>
              </a:buClr>
              <a:buFont typeface="Wingdings" pitchFamily="2" charset="2"/>
              <a:buChar char="Ø"/>
            </a:pPr>
            <a:r>
              <a:rPr lang="ru-RU" altLang="ru-RU" sz="2200" b="1" dirty="0">
                <a:latin typeface="Arial Unicode MS" pitchFamily="34" charset="-128"/>
                <a:ea typeface="Arial Unicode MS" pitchFamily="34" charset="-128"/>
                <a:cs typeface="Arial Unicode MS" pitchFamily="34" charset="-128"/>
              </a:rPr>
              <a:t>Более</a:t>
            </a:r>
            <a:r>
              <a:rPr lang="de-DE" altLang="ru-RU" sz="2200" b="1" dirty="0">
                <a:latin typeface="Arial Unicode MS" pitchFamily="34" charset="-128"/>
                <a:ea typeface="Arial Unicode MS" pitchFamily="34" charset="-128"/>
                <a:cs typeface="Arial Unicode MS" pitchFamily="34" charset="-128"/>
              </a:rPr>
              <a:t> </a:t>
            </a:r>
            <a:r>
              <a:rPr lang="de-DE" altLang="ru-RU" sz="2200" b="1" dirty="0">
                <a:solidFill>
                  <a:srgbClr val="FF0000"/>
                </a:solidFill>
                <a:latin typeface="Arial Unicode MS" pitchFamily="34" charset="-128"/>
                <a:ea typeface="Arial Unicode MS" pitchFamily="34" charset="-128"/>
                <a:cs typeface="Arial Unicode MS" pitchFamily="34" charset="-128"/>
              </a:rPr>
              <a:t>40%</a:t>
            </a:r>
            <a:r>
              <a:rPr lang="de-DE" altLang="ru-RU" sz="2200" b="1" dirty="0">
                <a:latin typeface="Arial Unicode MS" pitchFamily="34" charset="-128"/>
                <a:ea typeface="Arial Unicode MS" pitchFamily="34" charset="-128"/>
                <a:cs typeface="Arial Unicode MS" pitchFamily="34" charset="-128"/>
              </a:rPr>
              <a:t> </a:t>
            </a:r>
            <a:r>
              <a:rPr lang="ru-RU" altLang="ru-RU" sz="2200" b="1" dirty="0">
                <a:latin typeface="Arial Unicode MS" pitchFamily="34" charset="-128"/>
                <a:ea typeface="Arial Unicode MS" pitchFamily="34" charset="-128"/>
                <a:cs typeface="Arial Unicode MS" pitchFamily="34" charset="-128"/>
              </a:rPr>
              <a:t>смертей </a:t>
            </a:r>
            <a:r>
              <a:rPr lang="de-DE" altLang="ru-RU" sz="2200" b="1" dirty="0">
                <a:latin typeface="Arial Unicode MS" pitchFamily="34" charset="-128"/>
                <a:ea typeface="Arial Unicode MS" pitchFamily="34" charset="-128"/>
                <a:cs typeface="Arial Unicode MS" pitchFamily="34" charset="-128"/>
              </a:rPr>
              <a:t> </a:t>
            </a:r>
            <a:r>
              <a:rPr lang="ru-RU" altLang="ru-RU" sz="2200" b="1" dirty="0">
                <a:latin typeface="Arial Unicode MS" pitchFamily="34" charset="-128"/>
                <a:ea typeface="Arial Unicode MS" pitchFamily="34" charset="-128"/>
                <a:cs typeface="Arial Unicode MS" pitchFamily="34" charset="-128"/>
              </a:rPr>
              <a:t>детей </a:t>
            </a:r>
            <a:r>
              <a:rPr lang="ru-RU" altLang="ru-RU" sz="2200" b="1" dirty="0" smtClean="0">
                <a:latin typeface="Arial Unicode MS" pitchFamily="34" charset="-128"/>
                <a:ea typeface="Arial Unicode MS" pitchFamily="34" charset="-128"/>
                <a:cs typeface="Arial Unicode MS" pitchFamily="34" charset="-128"/>
              </a:rPr>
              <a:t>0 - </a:t>
            </a:r>
            <a:r>
              <a:rPr lang="ru-RU" altLang="ru-RU" sz="2200" b="1" dirty="0">
                <a:latin typeface="Arial Unicode MS" pitchFamily="34" charset="-128"/>
                <a:ea typeface="Arial Unicode MS" pitchFamily="34" charset="-128"/>
                <a:cs typeface="Arial Unicode MS" pitchFamily="34" charset="-128"/>
              </a:rPr>
              <a:t>5 лет вызваны пневмококками</a:t>
            </a:r>
          </a:p>
          <a:p>
            <a:pPr eaLnBrk="1" hangingPunct="1">
              <a:spcBef>
                <a:spcPct val="60000"/>
              </a:spcBef>
              <a:buClr>
                <a:srgbClr val="A50021"/>
              </a:buClr>
              <a:buFont typeface="Wingdings" pitchFamily="2" charset="2"/>
              <a:buChar char="Ø"/>
            </a:pPr>
            <a:r>
              <a:rPr lang="de-DE" altLang="ru-RU" sz="2200" b="1" i="1" dirty="0">
                <a:latin typeface="Arial Unicode MS" pitchFamily="34" charset="-128"/>
                <a:ea typeface="Arial Unicode MS" pitchFamily="34" charset="-128"/>
                <a:cs typeface="Arial Unicode MS" pitchFamily="34" charset="-128"/>
              </a:rPr>
              <a:t>S</a:t>
            </a:r>
            <a:r>
              <a:rPr lang="ru-RU" altLang="ru-RU" sz="2200" b="1" i="1" dirty="0">
                <a:latin typeface="Arial Unicode MS" pitchFamily="34" charset="-128"/>
                <a:ea typeface="Arial Unicode MS" pitchFamily="34" charset="-128"/>
                <a:cs typeface="Arial Unicode MS" pitchFamily="34" charset="-128"/>
              </a:rPr>
              <a:t>. </a:t>
            </a:r>
            <a:r>
              <a:rPr lang="de-DE" altLang="ru-RU" sz="2200" b="1" i="1" dirty="0" err="1">
                <a:latin typeface="Arial Unicode MS" pitchFamily="34" charset="-128"/>
                <a:ea typeface="Arial Unicode MS" pitchFamily="34" charset="-128"/>
                <a:cs typeface="Arial Unicode MS" pitchFamily="34" charset="-128"/>
              </a:rPr>
              <a:t>pneumoniae</a:t>
            </a:r>
            <a:r>
              <a:rPr lang="de-DE" altLang="ru-RU" sz="2200" b="1" dirty="0">
                <a:latin typeface="Arial Unicode MS" pitchFamily="34" charset="-128"/>
                <a:ea typeface="Arial Unicode MS" pitchFamily="34" charset="-128"/>
                <a:cs typeface="Arial Unicode MS" pitchFamily="34" charset="-128"/>
              </a:rPr>
              <a:t> </a:t>
            </a:r>
            <a:r>
              <a:rPr lang="ru-RU" altLang="ru-RU" sz="2200" b="1" dirty="0">
                <a:latin typeface="Arial Unicode MS" pitchFamily="34" charset="-128"/>
                <a:ea typeface="Arial Unicode MS" pitchFamily="34" charset="-128"/>
                <a:cs typeface="Arial Unicode MS" pitchFamily="34" charset="-128"/>
              </a:rPr>
              <a:t>является </a:t>
            </a:r>
            <a:r>
              <a:rPr lang="ru-RU" altLang="ru-RU" sz="2800" b="1" dirty="0">
                <a:latin typeface="Arial Unicode MS" pitchFamily="34" charset="-128"/>
                <a:ea typeface="Arial Unicode MS" pitchFamily="34" charset="-128"/>
                <a:cs typeface="Arial Unicode MS" pitchFamily="34" charset="-128"/>
              </a:rPr>
              <a:t>наиболее частой</a:t>
            </a:r>
            <a:r>
              <a:rPr lang="ru-RU" altLang="ru-RU" sz="2200" b="1" dirty="0">
                <a:latin typeface="Arial Unicode MS" pitchFamily="34" charset="-128"/>
                <a:ea typeface="Arial Unicode MS" pitchFamily="34" charset="-128"/>
                <a:cs typeface="Arial Unicode MS" pitchFamily="34" charset="-128"/>
              </a:rPr>
              <a:t> причиной пневмонии у взрослых,  в </a:t>
            </a:r>
            <a:r>
              <a:rPr lang="ru-RU" altLang="ru-RU" sz="2200" b="1" dirty="0" err="1">
                <a:latin typeface="Arial Unicode MS" pitchFamily="34" charset="-128"/>
                <a:ea typeface="Arial Unicode MS" pitchFamily="34" charset="-128"/>
                <a:cs typeface="Arial Unicode MS" pitchFamily="34" charset="-128"/>
              </a:rPr>
              <a:t>т.ч</a:t>
            </a:r>
            <a:r>
              <a:rPr lang="ru-RU" altLang="ru-RU" sz="2200" b="1" dirty="0">
                <a:latin typeface="Arial Unicode MS" pitchFamily="34" charset="-128"/>
                <a:ea typeface="Arial Unicode MS" pitchFamily="34" charset="-128"/>
                <a:cs typeface="Arial Unicode MS" pitchFamily="34" charset="-128"/>
              </a:rPr>
              <a:t>. в России, Европе и США </a:t>
            </a:r>
            <a:endParaRPr lang="de-DE" altLang="ru-RU" sz="2200" b="1" dirty="0">
              <a:latin typeface="Arial Unicode MS" pitchFamily="34" charset="-128"/>
              <a:ea typeface="Arial Unicode MS" pitchFamily="34" charset="-128"/>
              <a:cs typeface="Arial Unicode MS" pitchFamily="34" charset="-128"/>
            </a:endParaRPr>
          </a:p>
          <a:p>
            <a:pPr eaLnBrk="1" hangingPunct="1">
              <a:spcBef>
                <a:spcPct val="60000"/>
              </a:spcBef>
              <a:buClr>
                <a:srgbClr val="A50021"/>
              </a:buClr>
              <a:buFont typeface="Wingdings" pitchFamily="2" charset="2"/>
              <a:buChar char="Ø"/>
            </a:pPr>
            <a:r>
              <a:rPr lang="ru-RU" altLang="ru-RU" sz="2200" dirty="0">
                <a:solidFill>
                  <a:srgbClr val="000099"/>
                </a:solidFill>
                <a:latin typeface="Arial Unicode MS" pitchFamily="34" charset="-128"/>
                <a:ea typeface="Arial Unicode MS" pitchFamily="34" charset="-128"/>
                <a:cs typeface="Arial Unicode MS" pitchFamily="34" charset="-128"/>
              </a:rPr>
              <a:t>В Германии около</a:t>
            </a:r>
            <a:r>
              <a:rPr lang="ru-RU" altLang="ru-RU" sz="2200" b="1" dirty="0">
                <a:solidFill>
                  <a:srgbClr val="A50021"/>
                </a:solidFill>
                <a:latin typeface="Arial Unicode MS" pitchFamily="34" charset="-128"/>
                <a:ea typeface="Arial Unicode MS" pitchFamily="34" charset="-128"/>
                <a:cs typeface="Arial Unicode MS" pitchFamily="34" charset="-128"/>
              </a:rPr>
              <a:t> </a:t>
            </a:r>
            <a:r>
              <a:rPr lang="de-DE" altLang="ru-RU" sz="2200" b="1" dirty="0" smtClean="0">
                <a:solidFill>
                  <a:srgbClr val="FF0000"/>
                </a:solidFill>
                <a:latin typeface="Arial Unicode MS" pitchFamily="34" charset="-128"/>
                <a:ea typeface="Arial Unicode MS" pitchFamily="34" charset="-128"/>
                <a:cs typeface="Arial Unicode MS" pitchFamily="34" charset="-128"/>
              </a:rPr>
              <a:t>12</a:t>
            </a:r>
            <a:r>
              <a:rPr lang="ru-RU" altLang="ru-RU" sz="2200" b="1" dirty="0" smtClean="0">
                <a:solidFill>
                  <a:srgbClr val="FF0000"/>
                </a:solidFill>
                <a:latin typeface="Arial Unicode MS" pitchFamily="34" charset="-128"/>
                <a:ea typeface="Arial Unicode MS" pitchFamily="34" charset="-128"/>
                <a:cs typeface="Arial Unicode MS" pitchFamily="34" charset="-128"/>
              </a:rPr>
              <a:t> </a:t>
            </a:r>
            <a:r>
              <a:rPr lang="de-DE" altLang="ru-RU" sz="2200" b="1" dirty="0" smtClean="0">
                <a:solidFill>
                  <a:srgbClr val="FF0000"/>
                </a:solidFill>
                <a:latin typeface="Arial Unicode MS" pitchFamily="34" charset="-128"/>
                <a:ea typeface="Arial Unicode MS" pitchFamily="34" charset="-128"/>
                <a:cs typeface="Arial Unicode MS" pitchFamily="34" charset="-128"/>
              </a:rPr>
              <a:t>000 </a:t>
            </a:r>
            <a:r>
              <a:rPr lang="ru-RU" altLang="ru-RU" sz="2200" b="1" dirty="0">
                <a:solidFill>
                  <a:srgbClr val="FF0000"/>
                </a:solidFill>
                <a:latin typeface="Arial Unicode MS" pitchFamily="34" charset="-128"/>
                <a:ea typeface="Arial Unicode MS" pitchFamily="34" charset="-128"/>
                <a:cs typeface="Arial Unicode MS" pitchFamily="34" charset="-128"/>
              </a:rPr>
              <a:t>человек</a:t>
            </a:r>
            <a:r>
              <a:rPr lang="ru-RU" altLang="ru-RU" sz="2200" b="1" dirty="0">
                <a:solidFill>
                  <a:srgbClr val="A50021"/>
                </a:solidFill>
                <a:latin typeface="Arial Unicode MS" pitchFamily="34" charset="-128"/>
                <a:ea typeface="Arial Unicode MS" pitchFamily="34" charset="-128"/>
                <a:cs typeface="Arial Unicode MS" pitchFamily="34" charset="-128"/>
              </a:rPr>
              <a:t> </a:t>
            </a:r>
            <a:r>
              <a:rPr lang="ru-RU" altLang="ru-RU" sz="2200" dirty="0">
                <a:solidFill>
                  <a:srgbClr val="000099"/>
                </a:solidFill>
                <a:latin typeface="Arial Unicode MS" pitchFamily="34" charset="-128"/>
                <a:ea typeface="Arial Unicode MS" pitchFamily="34" charset="-128"/>
                <a:cs typeface="Arial Unicode MS" pitchFamily="34" charset="-128"/>
              </a:rPr>
              <a:t>ежегодно умирают от пневмонии, менингита или сепсиса с подтвержденной пневмококковой этиологией</a:t>
            </a:r>
          </a:p>
          <a:p>
            <a:pPr eaLnBrk="1" hangingPunct="1">
              <a:spcBef>
                <a:spcPct val="60000"/>
              </a:spcBef>
              <a:buClr>
                <a:srgbClr val="A50021"/>
              </a:buClr>
              <a:buFont typeface="Wingdings" pitchFamily="2" charset="2"/>
              <a:buChar char="Ø"/>
            </a:pPr>
            <a:r>
              <a:rPr lang="ru-RU" altLang="ru-RU" sz="2200" b="1" dirty="0">
                <a:latin typeface="Arial Unicode MS" pitchFamily="34" charset="-128"/>
                <a:ea typeface="Arial Unicode MS" pitchFamily="34" charset="-128"/>
                <a:cs typeface="Arial Unicode MS" pitchFamily="34" charset="-128"/>
              </a:rPr>
              <a:t>Основная причина бактериальных инфекций среднего уха, синуситов, которыми болеет практически каждый ребенок, часто повторно</a:t>
            </a:r>
            <a:endParaRPr lang="de-DE" altLang="ru-RU" sz="2200" b="1" dirty="0">
              <a:latin typeface="Arial Unicode MS" pitchFamily="34" charset="-128"/>
              <a:ea typeface="Arial Unicode MS" pitchFamily="34" charset="-128"/>
              <a:cs typeface="Arial Unicode MS" pitchFamily="34" charset="-128"/>
            </a:endParaRPr>
          </a:p>
        </p:txBody>
      </p:sp>
      <p:sp>
        <p:nvSpPr>
          <p:cNvPr id="267267" name="Text Box 3"/>
          <p:cNvSpPr txBox="1">
            <a:spLocks noChangeArrowheads="1"/>
          </p:cNvSpPr>
          <p:nvPr/>
        </p:nvSpPr>
        <p:spPr bwMode="auto">
          <a:xfrm>
            <a:off x="4295800" y="6252371"/>
            <a:ext cx="6367462" cy="304800"/>
          </a:xfrm>
          <a:prstGeom prst="rect">
            <a:avLst/>
          </a:prstGeom>
          <a:solidFill>
            <a:schemeClr val="bg1"/>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0" tIns="0" rIns="0" bIns="0" anchor="b">
            <a:spAutoFit/>
          </a:bodyPr>
          <a:lstStyle>
            <a:lvl1pPr defTabSz="762000">
              <a:defRPr sz="3200">
                <a:solidFill>
                  <a:schemeClr val="tx1"/>
                </a:solidFill>
                <a:latin typeface="Arial" pitchFamily="34" charset="0"/>
                <a:cs typeface="Arial" pitchFamily="34" charset="0"/>
              </a:defRPr>
            </a:lvl1pPr>
            <a:lvl2pPr defTabSz="762000">
              <a:defRPr sz="2800">
                <a:solidFill>
                  <a:schemeClr val="tx1"/>
                </a:solidFill>
                <a:latin typeface="Arial" pitchFamily="34" charset="0"/>
                <a:cs typeface="Arial" pitchFamily="34" charset="0"/>
              </a:defRPr>
            </a:lvl2pPr>
            <a:lvl3pPr defTabSz="762000">
              <a:defRPr sz="2400">
                <a:solidFill>
                  <a:schemeClr val="tx1"/>
                </a:solidFill>
                <a:latin typeface="Arial" pitchFamily="34" charset="0"/>
                <a:cs typeface="Arial" pitchFamily="34" charset="0"/>
              </a:defRPr>
            </a:lvl3pPr>
            <a:lvl4pPr defTabSz="762000">
              <a:defRPr sz="2000">
                <a:solidFill>
                  <a:schemeClr val="tx1"/>
                </a:solidFill>
                <a:latin typeface="Arial" pitchFamily="34" charset="0"/>
                <a:cs typeface="Arial" pitchFamily="34" charset="0"/>
              </a:defRPr>
            </a:lvl4pPr>
            <a:lvl5pPr defTabSz="762000">
              <a:defRPr sz="2000">
                <a:solidFill>
                  <a:schemeClr val="tx1"/>
                </a:solidFill>
                <a:latin typeface="Arial" pitchFamily="34" charset="0"/>
                <a:cs typeface="Arial" pitchFamily="34" charset="0"/>
              </a:defRPr>
            </a:lvl5pPr>
            <a:lvl6pPr defTabSz="762000" eaLnBrk="0" hangingPunct="0">
              <a:defRPr sz="2000">
                <a:solidFill>
                  <a:schemeClr val="tx1"/>
                </a:solidFill>
                <a:latin typeface="Arial" pitchFamily="34" charset="0"/>
                <a:cs typeface="Arial" pitchFamily="34" charset="0"/>
              </a:defRPr>
            </a:lvl6pPr>
            <a:lvl7pPr defTabSz="762000" eaLnBrk="0" hangingPunct="0">
              <a:defRPr sz="2000">
                <a:solidFill>
                  <a:schemeClr val="tx1"/>
                </a:solidFill>
                <a:latin typeface="Arial" pitchFamily="34" charset="0"/>
                <a:cs typeface="Arial" pitchFamily="34" charset="0"/>
              </a:defRPr>
            </a:lvl7pPr>
            <a:lvl8pPr defTabSz="762000" eaLnBrk="0" hangingPunct="0">
              <a:defRPr sz="2000">
                <a:solidFill>
                  <a:schemeClr val="tx1"/>
                </a:solidFill>
                <a:latin typeface="Arial" pitchFamily="34" charset="0"/>
                <a:cs typeface="Arial" pitchFamily="34" charset="0"/>
              </a:defRPr>
            </a:lvl8pPr>
            <a:lvl9pPr defTabSz="762000" eaLnBrk="0" hangingPunct="0">
              <a:defRPr sz="2000">
                <a:solidFill>
                  <a:schemeClr val="tx1"/>
                </a:solidFill>
                <a:latin typeface="Arial" pitchFamily="34" charset="0"/>
                <a:cs typeface="Arial" pitchFamily="34" charset="0"/>
              </a:defRPr>
            </a:lvl9pPr>
          </a:lstStyle>
          <a:p>
            <a:pPr eaLnBrk="0" fontAlgn="base" hangingPunct="0">
              <a:spcBef>
                <a:spcPct val="0"/>
              </a:spcBef>
              <a:spcAft>
                <a:spcPct val="0"/>
              </a:spcAft>
            </a:pPr>
            <a:r>
              <a:rPr lang="de-DE" altLang="ru-RU" sz="1000" i="1">
                <a:solidFill>
                  <a:srgbClr val="000000"/>
                </a:solidFill>
              </a:rPr>
              <a:t>DGK-Expertenworkshop 2001, Pneumokokken-Erkrankungen bei Säuglingen und Kleinkindern. </a:t>
            </a:r>
            <a:br>
              <a:rPr lang="de-DE" altLang="ru-RU" sz="1000" i="1">
                <a:solidFill>
                  <a:srgbClr val="000000"/>
                </a:solidFill>
              </a:rPr>
            </a:br>
            <a:r>
              <a:rPr lang="de-DE" altLang="ru-RU" sz="1000" i="1">
                <a:solidFill>
                  <a:srgbClr val="000000"/>
                </a:solidFill>
              </a:rPr>
              <a:t>Stück B., von Voß H. (Hrsg.), Verlag im Kilian, 2001</a:t>
            </a:r>
          </a:p>
        </p:txBody>
      </p:sp>
      <p:sp>
        <p:nvSpPr>
          <p:cNvPr id="267268" name="Rectangle 4"/>
          <p:cNvSpPr>
            <a:spLocks noChangeArrowheads="1"/>
          </p:cNvSpPr>
          <p:nvPr/>
        </p:nvSpPr>
        <p:spPr bwMode="auto">
          <a:xfrm>
            <a:off x="5511800" y="5011738"/>
            <a:ext cx="1857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ctr" eaLnBrk="0" fontAlgn="base" hangingPunct="0">
              <a:spcBef>
                <a:spcPct val="0"/>
              </a:spcBef>
              <a:spcAft>
                <a:spcPct val="0"/>
              </a:spcAft>
            </a:pPr>
            <a:endParaRPr lang="en-GB" altLang="ru-RU" sz="2400">
              <a:solidFill>
                <a:srgbClr val="000000"/>
              </a:solidFill>
              <a:latin typeface="Times New Roman" pitchFamily="18" charset="0"/>
            </a:endParaRPr>
          </a:p>
        </p:txBody>
      </p:sp>
      <p:sp>
        <p:nvSpPr>
          <p:cNvPr id="267269" name="Rectangle 5"/>
          <p:cNvSpPr>
            <a:spLocks noChangeArrowheads="1"/>
          </p:cNvSpPr>
          <p:nvPr/>
        </p:nvSpPr>
        <p:spPr bwMode="auto">
          <a:xfrm>
            <a:off x="1992314" y="260351"/>
            <a:ext cx="8099425"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fontAlgn="base">
              <a:spcBef>
                <a:spcPct val="0"/>
              </a:spcBef>
              <a:spcAft>
                <a:spcPct val="0"/>
              </a:spcAft>
            </a:pPr>
            <a:r>
              <a:rPr lang="ru-RU" altLang="ru-RU" sz="2800" b="1" dirty="0">
                <a:solidFill>
                  <a:srgbClr val="FF0000"/>
                </a:solidFill>
              </a:rPr>
              <a:t>Пневмококк – лидер среди бактериальных  инфекций человека</a:t>
            </a:r>
            <a:endParaRPr lang="de-DE" altLang="ru-RU" sz="2800" b="1" dirty="0">
              <a:solidFill>
                <a:srgbClr val="FF0000"/>
              </a:solidFill>
            </a:endParaRPr>
          </a:p>
        </p:txBody>
      </p:sp>
    </p:spTree>
    <p:extLst>
      <p:ext uri="{BB962C8B-B14F-4D97-AF65-F5344CB8AC3E}">
        <p14:creationId xmlns:p14="http://schemas.microsoft.com/office/powerpoint/2010/main" val="5679353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Заголовок 1"/>
          <p:cNvSpPr>
            <a:spLocks noGrp="1"/>
          </p:cNvSpPr>
          <p:nvPr>
            <p:ph type="title"/>
          </p:nvPr>
        </p:nvSpPr>
        <p:spPr>
          <a:xfrm>
            <a:off x="1676400" y="0"/>
            <a:ext cx="8991600" cy="1752600"/>
          </a:xfrm>
        </p:spPr>
        <p:txBody>
          <a:bodyPr/>
          <a:lstStyle/>
          <a:p>
            <a:pPr eaLnBrk="1" hangingPunct="1"/>
            <a:r>
              <a:rPr lang="ru-RU" altLang="ru-RU" sz="4000" b="1">
                <a:solidFill>
                  <a:srgbClr val="FF0000"/>
                </a:solidFill>
              </a:rPr>
              <a:t>Сегодняшние дети - завтрашняя Россия</a:t>
            </a:r>
          </a:p>
        </p:txBody>
      </p:sp>
      <p:sp>
        <p:nvSpPr>
          <p:cNvPr id="244739" name="Содержимое 2"/>
          <p:cNvSpPr>
            <a:spLocks noGrp="1"/>
          </p:cNvSpPr>
          <p:nvPr>
            <p:ph idx="1"/>
          </p:nvPr>
        </p:nvSpPr>
        <p:spPr>
          <a:xfrm>
            <a:off x="767408" y="1676400"/>
            <a:ext cx="10945216" cy="3041650"/>
          </a:xfrm>
        </p:spPr>
        <p:txBody>
          <a:bodyPr/>
          <a:lstStyle/>
          <a:p>
            <a:pPr marL="0" indent="0" algn="ctr" eaLnBrk="1" hangingPunct="1">
              <a:buNone/>
            </a:pPr>
            <a:r>
              <a:rPr lang="ru-RU" altLang="ru-RU" sz="2800" dirty="0"/>
              <a:t>Указ Президента Российской Федерации </a:t>
            </a:r>
            <a:r>
              <a:rPr lang="ru-RU" altLang="ru-RU" sz="2800" dirty="0" err="1"/>
              <a:t>В.В.Путина</a:t>
            </a:r>
            <a:r>
              <a:rPr lang="ru-RU" altLang="ru-RU" sz="2800" dirty="0"/>
              <a:t> </a:t>
            </a:r>
            <a:r>
              <a:rPr lang="ru-RU" altLang="ru-RU" sz="2800" dirty="0" smtClean="0"/>
              <a:t/>
            </a:r>
            <a:br>
              <a:rPr lang="ru-RU" altLang="ru-RU" sz="2800" dirty="0" smtClean="0"/>
            </a:br>
            <a:r>
              <a:rPr lang="ru-RU" altLang="ru-RU" sz="2800" dirty="0" smtClean="0"/>
              <a:t>(</a:t>
            </a:r>
            <a:r>
              <a:rPr lang="ru-RU" altLang="ru-RU" sz="2800" dirty="0"/>
              <a:t>№ 240 от 29 мая 2017 г.) </a:t>
            </a:r>
          </a:p>
          <a:p>
            <a:pPr marL="0" indent="0" algn="ctr" eaLnBrk="1" hangingPunct="1">
              <a:buNone/>
            </a:pPr>
            <a:r>
              <a:rPr lang="ru-RU" altLang="ru-RU" sz="2800" b="1" dirty="0">
                <a:solidFill>
                  <a:schemeClr val="tx2"/>
                </a:solidFill>
              </a:rPr>
              <a:t>2018–2027 годы объявлены Десятилетием детства и Правительству Российской Федерации поручено утвердить План основных мероприятий проводимых в рамках Десятилетия детства.</a:t>
            </a:r>
            <a:endParaRPr lang="ru-RU" altLang="ru-RU" sz="2800" dirty="0">
              <a:solidFill>
                <a:schemeClr val="tx2"/>
              </a:solidFill>
            </a:endParaRPr>
          </a:p>
        </p:txBody>
      </p:sp>
      <p:pic>
        <p:nvPicPr>
          <p:cNvPr id="14029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2871" y="4293097"/>
            <a:ext cx="5822571" cy="2458542"/>
          </a:xfrm>
          <a:prstGeom prst="rect">
            <a:avLst/>
          </a:prstGeom>
          <a:noFill/>
          <a:ln>
            <a:noFill/>
          </a:ln>
          <a:effectLst>
            <a:outerShdw dist="53882" dir="13500000" algn="ctr" rotWithShape="0">
              <a:schemeClr val="bg2">
                <a:alpha val="50000"/>
              </a:schemeClr>
            </a:outerShdw>
            <a:softEdge rad="317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209188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Freeform 2"/>
          <p:cNvSpPr>
            <a:spLocks/>
          </p:cNvSpPr>
          <p:nvPr/>
        </p:nvSpPr>
        <p:spPr bwMode="auto">
          <a:xfrm>
            <a:off x="7013576" y="2157413"/>
            <a:ext cx="3175" cy="6350"/>
          </a:xfrm>
          <a:custGeom>
            <a:avLst/>
            <a:gdLst/>
            <a:ahLst/>
            <a:cxnLst>
              <a:cxn ang="0">
                <a:pos x="0" y="13"/>
              </a:cxn>
              <a:cxn ang="0">
                <a:pos x="0" y="0"/>
              </a:cxn>
              <a:cxn ang="0">
                <a:pos x="7" y="7"/>
              </a:cxn>
              <a:cxn ang="0">
                <a:pos x="0" y="13"/>
              </a:cxn>
            </a:cxnLst>
            <a:rect l="0" t="0" r="r" b="b"/>
            <a:pathLst>
              <a:path w="7" h="13">
                <a:moveTo>
                  <a:pt x="0" y="13"/>
                </a:moveTo>
                <a:lnTo>
                  <a:pt x="0" y="0"/>
                </a:lnTo>
                <a:lnTo>
                  <a:pt x="7" y="7"/>
                </a:lnTo>
                <a:lnTo>
                  <a:pt x="0" y="13"/>
                </a:lnTo>
                <a:close/>
              </a:path>
            </a:pathLst>
          </a:custGeom>
          <a:solidFill>
            <a:srgbClr val="000000"/>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grpSp>
        <p:nvGrpSpPr>
          <p:cNvPr id="268291" name="Group 3"/>
          <p:cNvGrpSpPr>
            <a:grpSpLocks/>
          </p:cNvGrpSpPr>
          <p:nvPr/>
        </p:nvGrpSpPr>
        <p:grpSpPr bwMode="auto">
          <a:xfrm>
            <a:off x="4772025" y="1211230"/>
            <a:ext cx="1636713" cy="2403475"/>
            <a:chOff x="2322" y="835"/>
            <a:chExt cx="1031" cy="1514"/>
          </a:xfrm>
        </p:grpSpPr>
        <p:sp>
          <p:nvSpPr>
            <p:cNvPr id="2" name="Freeform 4"/>
            <p:cNvSpPr>
              <a:spLocks/>
            </p:cNvSpPr>
            <p:nvPr/>
          </p:nvSpPr>
          <p:spPr bwMode="auto">
            <a:xfrm>
              <a:off x="2322" y="835"/>
              <a:ext cx="905" cy="1514"/>
            </a:xfrm>
            <a:custGeom>
              <a:avLst/>
              <a:gdLst/>
              <a:ahLst/>
              <a:cxnLst>
                <a:cxn ang="0">
                  <a:pos x="1262" y="0"/>
                </a:cxn>
                <a:cxn ang="0">
                  <a:pos x="718" y="92"/>
                </a:cxn>
                <a:cxn ang="0">
                  <a:pos x="252" y="299"/>
                </a:cxn>
                <a:cxn ang="0">
                  <a:pos x="2" y="591"/>
                </a:cxn>
                <a:cxn ang="0">
                  <a:pos x="57" y="947"/>
                </a:cxn>
                <a:cxn ang="0">
                  <a:pos x="201" y="1398"/>
                </a:cxn>
                <a:cxn ang="0">
                  <a:pos x="330" y="1871"/>
                </a:cxn>
                <a:cxn ang="0">
                  <a:pos x="375" y="2279"/>
                </a:cxn>
                <a:cxn ang="0">
                  <a:pos x="291" y="2555"/>
                </a:cxn>
                <a:cxn ang="0">
                  <a:pos x="190" y="2787"/>
                </a:cxn>
                <a:cxn ang="0">
                  <a:pos x="102" y="3005"/>
                </a:cxn>
                <a:cxn ang="0">
                  <a:pos x="35" y="3231"/>
                </a:cxn>
                <a:cxn ang="0">
                  <a:pos x="3" y="3461"/>
                </a:cxn>
                <a:cxn ang="0">
                  <a:pos x="44" y="3605"/>
                </a:cxn>
                <a:cxn ang="0">
                  <a:pos x="165" y="3721"/>
                </a:cxn>
                <a:cxn ang="0">
                  <a:pos x="364" y="3883"/>
                </a:cxn>
                <a:cxn ang="0">
                  <a:pos x="654" y="4139"/>
                </a:cxn>
                <a:cxn ang="0">
                  <a:pos x="1086" y="4369"/>
                </a:cxn>
                <a:cxn ang="0">
                  <a:pos x="1549" y="4512"/>
                </a:cxn>
                <a:cxn ang="0">
                  <a:pos x="1908" y="4530"/>
                </a:cxn>
                <a:cxn ang="0">
                  <a:pos x="2078" y="4373"/>
                </a:cxn>
                <a:cxn ang="0">
                  <a:pos x="2255" y="4052"/>
                </a:cxn>
                <a:cxn ang="0">
                  <a:pos x="2429" y="3673"/>
                </a:cxn>
                <a:cxn ang="0">
                  <a:pos x="2534" y="3352"/>
                </a:cxn>
                <a:cxn ang="0">
                  <a:pos x="2530" y="3167"/>
                </a:cxn>
                <a:cxn ang="0">
                  <a:pos x="2492" y="2973"/>
                </a:cxn>
                <a:cxn ang="0">
                  <a:pos x="2465" y="2751"/>
                </a:cxn>
                <a:cxn ang="0">
                  <a:pos x="2476" y="2514"/>
                </a:cxn>
                <a:cxn ang="0">
                  <a:pos x="2543" y="2273"/>
                </a:cxn>
                <a:cxn ang="0">
                  <a:pos x="2624" y="2023"/>
                </a:cxn>
                <a:cxn ang="0">
                  <a:pos x="2688" y="1747"/>
                </a:cxn>
                <a:cxn ang="0">
                  <a:pos x="2715" y="1427"/>
                </a:cxn>
                <a:cxn ang="0">
                  <a:pos x="2691" y="1053"/>
                </a:cxn>
                <a:cxn ang="0">
                  <a:pos x="2621" y="693"/>
                </a:cxn>
                <a:cxn ang="0">
                  <a:pos x="2501" y="390"/>
                </a:cxn>
                <a:cxn ang="0">
                  <a:pos x="2317" y="179"/>
                </a:cxn>
                <a:cxn ang="0">
                  <a:pos x="2070" y="81"/>
                </a:cxn>
                <a:cxn ang="0">
                  <a:pos x="1831" y="32"/>
                </a:cxn>
                <a:cxn ang="0">
                  <a:pos x="1643" y="10"/>
                </a:cxn>
                <a:cxn ang="0">
                  <a:pos x="1536" y="6"/>
                </a:cxn>
              </a:cxnLst>
              <a:rect l="0" t="0" r="r" b="b"/>
              <a:pathLst>
                <a:path w="2715" h="4540">
                  <a:moveTo>
                    <a:pt x="1521" y="6"/>
                  </a:moveTo>
                  <a:lnTo>
                    <a:pt x="1262" y="0"/>
                  </a:lnTo>
                  <a:lnTo>
                    <a:pt x="989" y="30"/>
                  </a:lnTo>
                  <a:lnTo>
                    <a:pt x="718" y="92"/>
                  </a:lnTo>
                  <a:lnTo>
                    <a:pt x="468" y="185"/>
                  </a:lnTo>
                  <a:lnTo>
                    <a:pt x="252" y="299"/>
                  </a:lnTo>
                  <a:lnTo>
                    <a:pt x="92" y="437"/>
                  </a:lnTo>
                  <a:lnTo>
                    <a:pt x="2" y="591"/>
                  </a:lnTo>
                  <a:lnTo>
                    <a:pt x="0" y="759"/>
                  </a:lnTo>
                  <a:lnTo>
                    <a:pt x="57" y="947"/>
                  </a:lnTo>
                  <a:lnTo>
                    <a:pt x="128" y="1166"/>
                  </a:lnTo>
                  <a:lnTo>
                    <a:pt x="201" y="1398"/>
                  </a:lnTo>
                  <a:lnTo>
                    <a:pt x="272" y="1639"/>
                  </a:lnTo>
                  <a:lnTo>
                    <a:pt x="330" y="1871"/>
                  </a:lnTo>
                  <a:lnTo>
                    <a:pt x="368" y="2090"/>
                  </a:lnTo>
                  <a:lnTo>
                    <a:pt x="375" y="2279"/>
                  </a:lnTo>
                  <a:lnTo>
                    <a:pt x="345" y="2433"/>
                  </a:lnTo>
                  <a:lnTo>
                    <a:pt x="291" y="2555"/>
                  </a:lnTo>
                  <a:lnTo>
                    <a:pt x="241" y="2674"/>
                  </a:lnTo>
                  <a:lnTo>
                    <a:pt x="190" y="2787"/>
                  </a:lnTo>
                  <a:lnTo>
                    <a:pt x="145" y="2897"/>
                  </a:lnTo>
                  <a:lnTo>
                    <a:pt x="102" y="3005"/>
                  </a:lnTo>
                  <a:lnTo>
                    <a:pt x="65" y="3117"/>
                  </a:lnTo>
                  <a:lnTo>
                    <a:pt x="35" y="3231"/>
                  </a:lnTo>
                  <a:lnTo>
                    <a:pt x="13" y="3354"/>
                  </a:lnTo>
                  <a:lnTo>
                    <a:pt x="3" y="3461"/>
                  </a:lnTo>
                  <a:lnTo>
                    <a:pt x="13" y="3542"/>
                  </a:lnTo>
                  <a:lnTo>
                    <a:pt x="44" y="3605"/>
                  </a:lnTo>
                  <a:lnTo>
                    <a:pt x="96" y="3663"/>
                  </a:lnTo>
                  <a:lnTo>
                    <a:pt x="165" y="3721"/>
                  </a:lnTo>
                  <a:lnTo>
                    <a:pt x="255" y="3792"/>
                  </a:lnTo>
                  <a:lnTo>
                    <a:pt x="364" y="3883"/>
                  </a:lnTo>
                  <a:lnTo>
                    <a:pt x="492" y="4005"/>
                  </a:lnTo>
                  <a:lnTo>
                    <a:pt x="654" y="4139"/>
                  </a:lnTo>
                  <a:lnTo>
                    <a:pt x="858" y="4262"/>
                  </a:lnTo>
                  <a:lnTo>
                    <a:pt x="1086" y="4369"/>
                  </a:lnTo>
                  <a:lnTo>
                    <a:pt x="1323" y="4456"/>
                  </a:lnTo>
                  <a:lnTo>
                    <a:pt x="1549" y="4512"/>
                  </a:lnTo>
                  <a:lnTo>
                    <a:pt x="1750" y="4540"/>
                  </a:lnTo>
                  <a:lnTo>
                    <a:pt x="1908" y="4530"/>
                  </a:lnTo>
                  <a:lnTo>
                    <a:pt x="2007" y="4478"/>
                  </a:lnTo>
                  <a:lnTo>
                    <a:pt x="2078" y="4373"/>
                  </a:lnTo>
                  <a:lnTo>
                    <a:pt x="2164" y="4227"/>
                  </a:lnTo>
                  <a:lnTo>
                    <a:pt x="2255" y="4052"/>
                  </a:lnTo>
                  <a:lnTo>
                    <a:pt x="2348" y="3864"/>
                  </a:lnTo>
                  <a:lnTo>
                    <a:pt x="2429" y="3673"/>
                  </a:lnTo>
                  <a:lnTo>
                    <a:pt x="2494" y="3498"/>
                  </a:lnTo>
                  <a:lnTo>
                    <a:pt x="2534" y="3352"/>
                  </a:lnTo>
                  <a:lnTo>
                    <a:pt x="2544" y="3251"/>
                  </a:lnTo>
                  <a:lnTo>
                    <a:pt x="2530" y="3167"/>
                  </a:lnTo>
                  <a:lnTo>
                    <a:pt x="2513" y="3075"/>
                  </a:lnTo>
                  <a:lnTo>
                    <a:pt x="2492" y="2973"/>
                  </a:lnTo>
                  <a:lnTo>
                    <a:pt x="2476" y="2866"/>
                  </a:lnTo>
                  <a:lnTo>
                    <a:pt x="2465" y="2751"/>
                  </a:lnTo>
                  <a:lnTo>
                    <a:pt x="2465" y="2634"/>
                  </a:lnTo>
                  <a:lnTo>
                    <a:pt x="2476" y="2514"/>
                  </a:lnTo>
                  <a:lnTo>
                    <a:pt x="2505" y="2395"/>
                  </a:lnTo>
                  <a:lnTo>
                    <a:pt x="2543" y="2273"/>
                  </a:lnTo>
                  <a:lnTo>
                    <a:pt x="2585" y="2152"/>
                  </a:lnTo>
                  <a:lnTo>
                    <a:pt x="2624" y="2023"/>
                  </a:lnTo>
                  <a:lnTo>
                    <a:pt x="2660" y="1892"/>
                  </a:lnTo>
                  <a:lnTo>
                    <a:pt x="2688" y="1747"/>
                  </a:lnTo>
                  <a:lnTo>
                    <a:pt x="2708" y="1594"/>
                  </a:lnTo>
                  <a:lnTo>
                    <a:pt x="2715" y="1427"/>
                  </a:lnTo>
                  <a:lnTo>
                    <a:pt x="2711" y="1245"/>
                  </a:lnTo>
                  <a:lnTo>
                    <a:pt x="2691" y="1053"/>
                  </a:lnTo>
                  <a:lnTo>
                    <a:pt x="2662" y="869"/>
                  </a:lnTo>
                  <a:lnTo>
                    <a:pt x="2621" y="693"/>
                  </a:lnTo>
                  <a:lnTo>
                    <a:pt x="2569" y="534"/>
                  </a:lnTo>
                  <a:lnTo>
                    <a:pt x="2501" y="390"/>
                  </a:lnTo>
                  <a:lnTo>
                    <a:pt x="2418" y="272"/>
                  </a:lnTo>
                  <a:lnTo>
                    <a:pt x="2317" y="179"/>
                  </a:lnTo>
                  <a:lnTo>
                    <a:pt x="2199" y="120"/>
                  </a:lnTo>
                  <a:lnTo>
                    <a:pt x="2070" y="81"/>
                  </a:lnTo>
                  <a:lnTo>
                    <a:pt x="1947" y="52"/>
                  </a:lnTo>
                  <a:lnTo>
                    <a:pt x="1831" y="32"/>
                  </a:lnTo>
                  <a:lnTo>
                    <a:pt x="1730" y="19"/>
                  </a:lnTo>
                  <a:lnTo>
                    <a:pt x="1643" y="10"/>
                  </a:lnTo>
                  <a:lnTo>
                    <a:pt x="1578" y="7"/>
                  </a:lnTo>
                  <a:lnTo>
                    <a:pt x="1536" y="6"/>
                  </a:lnTo>
                  <a:lnTo>
                    <a:pt x="1521" y="6"/>
                  </a:lnTo>
                  <a:close/>
                </a:path>
              </a:pathLst>
            </a:custGeom>
            <a:solidFill>
              <a:srgbClr val="FFD9BF"/>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3" name="Freeform 5"/>
            <p:cNvSpPr>
              <a:spLocks/>
            </p:cNvSpPr>
            <p:nvPr/>
          </p:nvSpPr>
          <p:spPr bwMode="auto">
            <a:xfrm>
              <a:off x="2341" y="848"/>
              <a:ext cx="879" cy="1470"/>
            </a:xfrm>
            <a:custGeom>
              <a:avLst/>
              <a:gdLst/>
              <a:ahLst/>
              <a:cxnLst>
                <a:cxn ang="0">
                  <a:pos x="1226" y="0"/>
                </a:cxn>
                <a:cxn ang="0">
                  <a:pos x="698" y="92"/>
                </a:cxn>
                <a:cxn ang="0">
                  <a:pos x="245" y="293"/>
                </a:cxn>
                <a:cxn ang="0">
                  <a:pos x="0" y="576"/>
                </a:cxn>
                <a:cxn ang="0">
                  <a:pos x="55" y="923"/>
                </a:cxn>
                <a:cxn ang="0">
                  <a:pos x="196" y="1360"/>
                </a:cxn>
                <a:cxn ang="0">
                  <a:pos x="320" y="1820"/>
                </a:cxn>
                <a:cxn ang="0">
                  <a:pos x="364" y="2216"/>
                </a:cxn>
                <a:cxn ang="0">
                  <a:pos x="283" y="2485"/>
                </a:cxn>
                <a:cxn ang="0">
                  <a:pos x="184" y="2709"/>
                </a:cxn>
                <a:cxn ang="0">
                  <a:pos x="99" y="2922"/>
                </a:cxn>
                <a:cxn ang="0">
                  <a:pos x="32" y="3140"/>
                </a:cxn>
                <a:cxn ang="0">
                  <a:pos x="2" y="3363"/>
                </a:cxn>
                <a:cxn ang="0">
                  <a:pos x="42" y="3505"/>
                </a:cxn>
                <a:cxn ang="0">
                  <a:pos x="161" y="3618"/>
                </a:cxn>
                <a:cxn ang="0">
                  <a:pos x="353" y="3774"/>
                </a:cxn>
                <a:cxn ang="0">
                  <a:pos x="636" y="4023"/>
                </a:cxn>
                <a:cxn ang="0">
                  <a:pos x="1055" y="4247"/>
                </a:cxn>
                <a:cxn ang="0">
                  <a:pos x="1505" y="4386"/>
                </a:cxn>
                <a:cxn ang="0">
                  <a:pos x="1853" y="4402"/>
                </a:cxn>
                <a:cxn ang="0">
                  <a:pos x="2019" y="4250"/>
                </a:cxn>
                <a:cxn ang="0">
                  <a:pos x="2191" y="3937"/>
                </a:cxn>
                <a:cxn ang="0">
                  <a:pos x="2358" y="3570"/>
                </a:cxn>
                <a:cxn ang="0">
                  <a:pos x="2462" y="3258"/>
                </a:cxn>
                <a:cxn ang="0">
                  <a:pos x="2458" y="3078"/>
                </a:cxn>
                <a:cxn ang="0">
                  <a:pos x="2420" y="2889"/>
                </a:cxn>
                <a:cxn ang="0">
                  <a:pos x="2394" y="2673"/>
                </a:cxn>
                <a:cxn ang="0">
                  <a:pos x="2405" y="2443"/>
                </a:cxn>
                <a:cxn ang="0">
                  <a:pos x="2472" y="2209"/>
                </a:cxn>
                <a:cxn ang="0">
                  <a:pos x="2550" y="1967"/>
                </a:cxn>
                <a:cxn ang="0">
                  <a:pos x="2612" y="1698"/>
                </a:cxn>
                <a:cxn ang="0">
                  <a:pos x="2638" y="1387"/>
                </a:cxn>
                <a:cxn ang="0">
                  <a:pos x="2614" y="1024"/>
                </a:cxn>
                <a:cxn ang="0">
                  <a:pos x="2546" y="676"/>
                </a:cxn>
                <a:cxn ang="0">
                  <a:pos x="2430" y="381"/>
                </a:cxn>
                <a:cxn ang="0">
                  <a:pos x="2251" y="177"/>
                </a:cxn>
                <a:cxn ang="0">
                  <a:pos x="2010" y="80"/>
                </a:cxn>
                <a:cxn ang="0">
                  <a:pos x="1779" y="32"/>
                </a:cxn>
                <a:cxn ang="0">
                  <a:pos x="1595" y="11"/>
                </a:cxn>
                <a:cxn ang="0">
                  <a:pos x="1491" y="6"/>
                </a:cxn>
              </a:cxnLst>
              <a:rect l="0" t="0" r="r" b="b"/>
              <a:pathLst>
                <a:path w="2638" h="4412">
                  <a:moveTo>
                    <a:pt x="1478" y="6"/>
                  </a:moveTo>
                  <a:lnTo>
                    <a:pt x="1226" y="0"/>
                  </a:lnTo>
                  <a:lnTo>
                    <a:pt x="961" y="31"/>
                  </a:lnTo>
                  <a:lnTo>
                    <a:pt x="698" y="92"/>
                  </a:lnTo>
                  <a:lnTo>
                    <a:pt x="455" y="181"/>
                  </a:lnTo>
                  <a:lnTo>
                    <a:pt x="245" y="293"/>
                  </a:lnTo>
                  <a:lnTo>
                    <a:pt x="89" y="427"/>
                  </a:lnTo>
                  <a:lnTo>
                    <a:pt x="0" y="576"/>
                  </a:lnTo>
                  <a:lnTo>
                    <a:pt x="0" y="740"/>
                  </a:lnTo>
                  <a:lnTo>
                    <a:pt x="55" y="923"/>
                  </a:lnTo>
                  <a:lnTo>
                    <a:pt x="123" y="1133"/>
                  </a:lnTo>
                  <a:lnTo>
                    <a:pt x="196" y="1360"/>
                  </a:lnTo>
                  <a:lnTo>
                    <a:pt x="265" y="1593"/>
                  </a:lnTo>
                  <a:lnTo>
                    <a:pt x="320" y="1820"/>
                  </a:lnTo>
                  <a:lnTo>
                    <a:pt x="356" y="2031"/>
                  </a:lnTo>
                  <a:lnTo>
                    <a:pt x="364" y="2216"/>
                  </a:lnTo>
                  <a:lnTo>
                    <a:pt x="335" y="2365"/>
                  </a:lnTo>
                  <a:lnTo>
                    <a:pt x="283" y="2485"/>
                  </a:lnTo>
                  <a:lnTo>
                    <a:pt x="233" y="2599"/>
                  </a:lnTo>
                  <a:lnTo>
                    <a:pt x="184" y="2709"/>
                  </a:lnTo>
                  <a:lnTo>
                    <a:pt x="141" y="2816"/>
                  </a:lnTo>
                  <a:lnTo>
                    <a:pt x="99" y="2922"/>
                  </a:lnTo>
                  <a:lnTo>
                    <a:pt x="63" y="3029"/>
                  </a:lnTo>
                  <a:lnTo>
                    <a:pt x="32" y="3140"/>
                  </a:lnTo>
                  <a:lnTo>
                    <a:pt x="12" y="3259"/>
                  </a:lnTo>
                  <a:lnTo>
                    <a:pt x="2" y="3363"/>
                  </a:lnTo>
                  <a:lnTo>
                    <a:pt x="13" y="3443"/>
                  </a:lnTo>
                  <a:lnTo>
                    <a:pt x="42" y="3505"/>
                  </a:lnTo>
                  <a:lnTo>
                    <a:pt x="93" y="3561"/>
                  </a:lnTo>
                  <a:lnTo>
                    <a:pt x="161" y="3618"/>
                  </a:lnTo>
                  <a:lnTo>
                    <a:pt x="248" y="3686"/>
                  </a:lnTo>
                  <a:lnTo>
                    <a:pt x="353" y="3774"/>
                  </a:lnTo>
                  <a:lnTo>
                    <a:pt x="478" y="3892"/>
                  </a:lnTo>
                  <a:lnTo>
                    <a:pt x="636" y="4023"/>
                  </a:lnTo>
                  <a:lnTo>
                    <a:pt x="834" y="4143"/>
                  </a:lnTo>
                  <a:lnTo>
                    <a:pt x="1055" y="4247"/>
                  </a:lnTo>
                  <a:lnTo>
                    <a:pt x="1285" y="4331"/>
                  </a:lnTo>
                  <a:lnTo>
                    <a:pt x="1505" y="4386"/>
                  </a:lnTo>
                  <a:lnTo>
                    <a:pt x="1701" y="4412"/>
                  </a:lnTo>
                  <a:lnTo>
                    <a:pt x="1853" y="4402"/>
                  </a:lnTo>
                  <a:lnTo>
                    <a:pt x="1950" y="4351"/>
                  </a:lnTo>
                  <a:lnTo>
                    <a:pt x="2019" y="4250"/>
                  </a:lnTo>
                  <a:lnTo>
                    <a:pt x="2102" y="4108"/>
                  </a:lnTo>
                  <a:lnTo>
                    <a:pt x="2191" y="3937"/>
                  </a:lnTo>
                  <a:lnTo>
                    <a:pt x="2280" y="3755"/>
                  </a:lnTo>
                  <a:lnTo>
                    <a:pt x="2358" y="3570"/>
                  </a:lnTo>
                  <a:lnTo>
                    <a:pt x="2423" y="3401"/>
                  </a:lnTo>
                  <a:lnTo>
                    <a:pt x="2462" y="3258"/>
                  </a:lnTo>
                  <a:lnTo>
                    <a:pt x="2472" y="3159"/>
                  </a:lnTo>
                  <a:lnTo>
                    <a:pt x="2458" y="3078"/>
                  </a:lnTo>
                  <a:lnTo>
                    <a:pt x="2440" y="2989"/>
                  </a:lnTo>
                  <a:lnTo>
                    <a:pt x="2420" y="2889"/>
                  </a:lnTo>
                  <a:lnTo>
                    <a:pt x="2405" y="2785"/>
                  </a:lnTo>
                  <a:lnTo>
                    <a:pt x="2394" y="2673"/>
                  </a:lnTo>
                  <a:lnTo>
                    <a:pt x="2394" y="2560"/>
                  </a:lnTo>
                  <a:lnTo>
                    <a:pt x="2405" y="2443"/>
                  </a:lnTo>
                  <a:lnTo>
                    <a:pt x="2434" y="2328"/>
                  </a:lnTo>
                  <a:lnTo>
                    <a:pt x="2472" y="2209"/>
                  </a:lnTo>
                  <a:lnTo>
                    <a:pt x="2511" y="2092"/>
                  </a:lnTo>
                  <a:lnTo>
                    <a:pt x="2550" y="1967"/>
                  </a:lnTo>
                  <a:lnTo>
                    <a:pt x="2585" y="1839"/>
                  </a:lnTo>
                  <a:lnTo>
                    <a:pt x="2612" y="1698"/>
                  </a:lnTo>
                  <a:lnTo>
                    <a:pt x="2631" y="1551"/>
                  </a:lnTo>
                  <a:lnTo>
                    <a:pt x="2638" y="1387"/>
                  </a:lnTo>
                  <a:lnTo>
                    <a:pt x="2633" y="1211"/>
                  </a:lnTo>
                  <a:lnTo>
                    <a:pt x="2614" y="1024"/>
                  </a:lnTo>
                  <a:lnTo>
                    <a:pt x="2586" y="845"/>
                  </a:lnTo>
                  <a:lnTo>
                    <a:pt x="2546" y="676"/>
                  </a:lnTo>
                  <a:lnTo>
                    <a:pt x="2497" y="520"/>
                  </a:lnTo>
                  <a:lnTo>
                    <a:pt x="2430" y="381"/>
                  </a:lnTo>
                  <a:lnTo>
                    <a:pt x="2349" y="265"/>
                  </a:lnTo>
                  <a:lnTo>
                    <a:pt x="2251" y="177"/>
                  </a:lnTo>
                  <a:lnTo>
                    <a:pt x="2136" y="119"/>
                  </a:lnTo>
                  <a:lnTo>
                    <a:pt x="2010" y="80"/>
                  </a:lnTo>
                  <a:lnTo>
                    <a:pt x="1890" y="53"/>
                  </a:lnTo>
                  <a:lnTo>
                    <a:pt x="1779" y="32"/>
                  </a:lnTo>
                  <a:lnTo>
                    <a:pt x="1680" y="19"/>
                  </a:lnTo>
                  <a:lnTo>
                    <a:pt x="1595" y="11"/>
                  </a:lnTo>
                  <a:lnTo>
                    <a:pt x="1533" y="8"/>
                  </a:lnTo>
                  <a:lnTo>
                    <a:pt x="1491" y="6"/>
                  </a:lnTo>
                  <a:lnTo>
                    <a:pt x="1478" y="6"/>
                  </a:lnTo>
                  <a:close/>
                </a:path>
              </a:pathLst>
            </a:custGeom>
            <a:solidFill>
              <a:srgbClr val="FFD5BE"/>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4" name="Freeform 6"/>
            <p:cNvSpPr>
              <a:spLocks/>
            </p:cNvSpPr>
            <p:nvPr/>
          </p:nvSpPr>
          <p:spPr bwMode="auto">
            <a:xfrm>
              <a:off x="2359" y="861"/>
              <a:ext cx="853" cy="1427"/>
            </a:xfrm>
            <a:custGeom>
              <a:avLst/>
              <a:gdLst/>
              <a:ahLst/>
              <a:cxnLst>
                <a:cxn ang="0">
                  <a:pos x="1190" y="0"/>
                </a:cxn>
                <a:cxn ang="0">
                  <a:pos x="678" y="88"/>
                </a:cxn>
                <a:cxn ang="0">
                  <a:pos x="238" y="283"/>
                </a:cxn>
                <a:cxn ang="0">
                  <a:pos x="2" y="556"/>
                </a:cxn>
                <a:cxn ang="0">
                  <a:pos x="52" y="893"/>
                </a:cxn>
                <a:cxn ang="0">
                  <a:pos x="188" y="1319"/>
                </a:cxn>
                <a:cxn ang="0">
                  <a:pos x="311" y="1764"/>
                </a:cxn>
                <a:cxn ang="0">
                  <a:pos x="353" y="2149"/>
                </a:cxn>
                <a:cxn ang="0">
                  <a:pos x="275" y="2410"/>
                </a:cxn>
                <a:cxn ang="0">
                  <a:pos x="178" y="2626"/>
                </a:cxn>
                <a:cxn ang="0">
                  <a:pos x="96" y="2833"/>
                </a:cxn>
                <a:cxn ang="0">
                  <a:pos x="32" y="3047"/>
                </a:cxn>
                <a:cxn ang="0">
                  <a:pos x="2" y="3262"/>
                </a:cxn>
                <a:cxn ang="0">
                  <a:pos x="42" y="3400"/>
                </a:cxn>
                <a:cxn ang="0">
                  <a:pos x="155" y="3508"/>
                </a:cxn>
                <a:cxn ang="0">
                  <a:pos x="342" y="3660"/>
                </a:cxn>
                <a:cxn ang="0">
                  <a:pos x="617" y="3902"/>
                </a:cxn>
                <a:cxn ang="0">
                  <a:pos x="1023" y="4120"/>
                </a:cxn>
                <a:cxn ang="0">
                  <a:pos x="1460" y="4256"/>
                </a:cxn>
                <a:cxn ang="0">
                  <a:pos x="1799" y="4270"/>
                </a:cxn>
                <a:cxn ang="0">
                  <a:pos x="1960" y="4123"/>
                </a:cxn>
                <a:cxn ang="0">
                  <a:pos x="2126" y="3821"/>
                </a:cxn>
                <a:cxn ang="0">
                  <a:pos x="2290" y="3463"/>
                </a:cxn>
                <a:cxn ang="0">
                  <a:pos x="2390" y="3161"/>
                </a:cxn>
                <a:cxn ang="0">
                  <a:pos x="2385" y="2986"/>
                </a:cxn>
                <a:cxn ang="0">
                  <a:pos x="2349" y="2802"/>
                </a:cxn>
                <a:cxn ang="0">
                  <a:pos x="2324" y="2594"/>
                </a:cxn>
                <a:cxn ang="0">
                  <a:pos x="2333" y="2371"/>
                </a:cxn>
                <a:cxn ang="0">
                  <a:pos x="2398" y="2143"/>
                </a:cxn>
                <a:cxn ang="0">
                  <a:pos x="2475" y="1909"/>
                </a:cxn>
                <a:cxn ang="0">
                  <a:pos x="2534" y="1647"/>
                </a:cxn>
                <a:cxn ang="0">
                  <a:pos x="2560" y="1345"/>
                </a:cxn>
                <a:cxn ang="0">
                  <a:pos x="2537" y="993"/>
                </a:cxn>
                <a:cxn ang="0">
                  <a:pos x="2472" y="653"/>
                </a:cxn>
                <a:cxn ang="0">
                  <a:pos x="2358" y="368"/>
                </a:cxn>
                <a:cxn ang="0">
                  <a:pos x="2185" y="169"/>
                </a:cxn>
                <a:cxn ang="0">
                  <a:pos x="1951" y="76"/>
                </a:cxn>
                <a:cxn ang="0">
                  <a:pos x="1727" y="30"/>
                </a:cxn>
                <a:cxn ang="0">
                  <a:pos x="1550" y="10"/>
                </a:cxn>
                <a:cxn ang="0">
                  <a:pos x="1447" y="5"/>
                </a:cxn>
              </a:cxnLst>
              <a:rect l="0" t="0" r="r" b="b"/>
              <a:pathLst>
                <a:path w="2560" h="4282">
                  <a:moveTo>
                    <a:pt x="1434" y="5"/>
                  </a:moveTo>
                  <a:lnTo>
                    <a:pt x="1190" y="0"/>
                  </a:lnTo>
                  <a:lnTo>
                    <a:pt x="934" y="28"/>
                  </a:lnTo>
                  <a:lnTo>
                    <a:pt x="678" y="88"/>
                  </a:lnTo>
                  <a:lnTo>
                    <a:pt x="442" y="175"/>
                  </a:lnTo>
                  <a:lnTo>
                    <a:pt x="238" y="283"/>
                  </a:lnTo>
                  <a:lnTo>
                    <a:pt x="86" y="412"/>
                  </a:lnTo>
                  <a:lnTo>
                    <a:pt x="2" y="556"/>
                  </a:lnTo>
                  <a:lnTo>
                    <a:pt x="0" y="715"/>
                  </a:lnTo>
                  <a:lnTo>
                    <a:pt x="52" y="893"/>
                  </a:lnTo>
                  <a:lnTo>
                    <a:pt x="119" y="1099"/>
                  </a:lnTo>
                  <a:lnTo>
                    <a:pt x="188" y="1319"/>
                  </a:lnTo>
                  <a:lnTo>
                    <a:pt x="256" y="1546"/>
                  </a:lnTo>
                  <a:lnTo>
                    <a:pt x="311" y="1764"/>
                  </a:lnTo>
                  <a:lnTo>
                    <a:pt x="346" y="1971"/>
                  </a:lnTo>
                  <a:lnTo>
                    <a:pt x="353" y="2149"/>
                  </a:lnTo>
                  <a:lnTo>
                    <a:pt x="326" y="2293"/>
                  </a:lnTo>
                  <a:lnTo>
                    <a:pt x="275" y="2410"/>
                  </a:lnTo>
                  <a:lnTo>
                    <a:pt x="226" y="2520"/>
                  </a:lnTo>
                  <a:lnTo>
                    <a:pt x="178" y="2626"/>
                  </a:lnTo>
                  <a:lnTo>
                    <a:pt x="136" y="2732"/>
                  </a:lnTo>
                  <a:lnTo>
                    <a:pt x="96" y="2833"/>
                  </a:lnTo>
                  <a:lnTo>
                    <a:pt x="61" y="2938"/>
                  </a:lnTo>
                  <a:lnTo>
                    <a:pt x="32" y="3047"/>
                  </a:lnTo>
                  <a:lnTo>
                    <a:pt x="12" y="3161"/>
                  </a:lnTo>
                  <a:lnTo>
                    <a:pt x="2" y="3262"/>
                  </a:lnTo>
                  <a:lnTo>
                    <a:pt x="13" y="3339"/>
                  </a:lnTo>
                  <a:lnTo>
                    <a:pt x="42" y="3400"/>
                  </a:lnTo>
                  <a:lnTo>
                    <a:pt x="90" y="3455"/>
                  </a:lnTo>
                  <a:lnTo>
                    <a:pt x="155" y="3508"/>
                  </a:lnTo>
                  <a:lnTo>
                    <a:pt x="241" y="3576"/>
                  </a:lnTo>
                  <a:lnTo>
                    <a:pt x="342" y="3660"/>
                  </a:lnTo>
                  <a:lnTo>
                    <a:pt x="463" y="3776"/>
                  </a:lnTo>
                  <a:lnTo>
                    <a:pt x="617" y="3902"/>
                  </a:lnTo>
                  <a:lnTo>
                    <a:pt x="809" y="4019"/>
                  </a:lnTo>
                  <a:lnTo>
                    <a:pt x="1023" y="4120"/>
                  </a:lnTo>
                  <a:lnTo>
                    <a:pt x="1248" y="4202"/>
                  </a:lnTo>
                  <a:lnTo>
                    <a:pt x="1460" y="4256"/>
                  </a:lnTo>
                  <a:lnTo>
                    <a:pt x="1650" y="4282"/>
                  </a:lnTo>
                  <a:lnTo>
                    <a:pt x="1799" y="4270"/>
                  </a:lnTo>
                  <a:lnTo>
                    <a:pt x="1893" y="4221"/>
                  </a:lnTo>
                  <a:lnTo>
                    <a:pt x="1960" y="4123"/>
                  </a:lnTo>
                  <a:lnTo>
                    <a:pt x="2041" y="3986"/>
                  </a:lnTo>
                  <a:lnTo>
                    <a:pt x="2126" y="3821"/>
                  </a:lnTo>
                  <a:lnTo>
                    <a:pt x="2213" y="3643"/>
                  </a:lnTo>
                  <a:lnTo>
                    <a:pt x="2290" y="3463"/>
                  </a:lnTo>
                  <a:lnTo>
                    <a:pt x="2352" y="3300"/>
                  </a:lnTo>
                  <a:lnTo>
                    <a:pt x="2390" y="3161"/>
                  </a:lnTo>
                  <a:lnTo>
                    <a:pt x="2400" y="3066"/>
                  </a:lnTo>
                  <a:lnTo>
                    <a:pt x="2385" y="2986"/>
                  </a:lnTo>
                  <a:lnTo>
                    <a:pt x="2369" y="2899"/>
                  </a:lnTo>
                  <a:lnTo>
                    <a:pt x="2349" y="2802"/>
                  </a:lnTo>
                  <a:lnTo>
                    <a:pt x="2335" y="2701"/>
                  </a:lnTo>
                  <a:lnTo>
                    <a:pt x="2324" y="2594"/>
                  </a:lnTo>
                  <a:lnTo>
                    <a:pt x="2323" y="2484"/>
                  </a:lnTo>
                  <a:lnTo>
                    <a:pt x="2333" y="2371"/>
                  </a:lnTo>
                  <a:lnTo>
                    <a:pt x="2362" y="2259"/>
                  </a:lnTo>
                  <a:lnTo>
                    <a:pt x="2398" y="2143"/>
                  </a:lnTo>
                  <a:lnTo>
                    <a:pt x="2437" y="2029"/>
                  </a:lnTo>
                  <a:lnTo>
                    <a:pt x="2475" y="1909"/>
                  </a:lnTo>
                  <a:lnTo>
                    <a:pt x="2508" y="1783"/>
                  </a:lnTo>
                  <a:lnTo>
                    <a:pt x="2534" y="1647"/>
                  </a:lnTo>
                  <a:lnTo>
                    <a:pt x="2553" y="1502"/>
                  </a:lnTo>
                  <a:lnTo>
                    <a:pt x="2560" y="1345"/>
                  </a:lnTo>
                  <a:lnTo>
                    <a:pt x="2556" y="1174"/>
                  </a:lnTo>
                  <a:lnTo>
                    <a:pt x="2537" y="993"/>
                  </a:lnTo>
                  <a:lnTo>
                    <a:pt x="2510" y="820"/>
                  </a:lnTo>
                  <a:lnTo>
                    <a:pt x="2472" y="653"/>
                  </a:lnTo>
                  <a:lnTo>
                    <a:pt x="2423" y="503"/>
                  </a:lnTo>
                  <a:lnTo>
                    <a:pt x="2358" y="368"/>
                  </a:lnTo>
                  <a:lnTo>
                    <a:pt x="2281" y="256"/>
                  </a:lnTo>
                  <a:lnTo>
                    <a:pt x="2185" y="169"/>
                  </a:lnTo>
                  <a:lnTo>
                    <a:pt x="2074" y="114"/>
                  </a:lnTo>
                  <a:lnTo>
                    <a:pt x="1951" y="76"/>
                  </a:lnTo>
                  <a:lnTo>
                    <a:pt x="1835" y="50"/>
                  </a:lnTo>
                  <a:lnTo>
                    <a:pt x="1727" y="30"/>
                  </a:lnTo>
                  <a:lnTo>
                    <a:pt x="1631" y="18"/>
                  </a:lnTo>
                  <a:lnTo>
                    <a:pt x="1550" y="10"/>
                  </a:lnTo>
                  <a:lnTo>
                    <a:pt x="1488" y="7"/>
                  </a:lnTo>
                  <a:lnTo>
                    <a:pt x="1447" y="5"/>
                  </a:lnTo>
                  <a:lnTo>
                    <a:pt x="1434" y="5"/>
                  </a:lnTo>
                  <a:close/>
                </a:path>
              </a:pathLst>
            </a:custGeom>
            <a:solidFill>
              <a:srgbClr val="FFD2BC"/>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 name="Freeform 7"/>
            <p:cNvSpPr>
              <a:spLocks/>
            </p:cNvSpPr>
            <p:nvPr/>
          </p:nvSpPr>
          <p:spPr bwMode="auto">
            <a:xfrm>
              <a:off x="2377" y="873"/>
              <a:ext cx="828" cy="1385"/>
            </a:xfrm>
            <a:custGeom>
              <a:avLst/>
              <a:gdLst/>
              <a:ahLst/>
              <a:cxnLst>
                <a:cxn ang="0">
                  <a:pos x="1154" y="0"/>
                </a:cxn>
                <a:cxn ang="0">
                  <a:pos x="656" y="87"/>
                </a:cxn>
                <a:cxn ang="0">
                  <a:pos x="229" y="276"/>
                </a:cxn>
                <a:cxn ang="0">
                  <a:pos x="0" y="541"/>
                </a:cxn>
                <a:cxn ang="0">
                  <a:pos x="51" y="868"/>
                </a:cxn>
                <a:cxn ang="0">
                  <a:pos x="184" y="1280"/>
                </a:cxn>
                <a:cxn ang="0">
                  <a:pos x="301" y="1713"/>
                </a:cxn>
                <a:cxn ang="0">
                  <a:pos x="343" y="2086"/>
                </a:cxn>
                <a:cxn ang="0">
                  <a:pos x="267" y="2339"/>
                </a:cxn>
                <a:cxn ang="0">
                  <a:pos x="174" y="2550"/>
                </a:cxn>
                <a:cxn ang="0">
                  <a:pos x="93" y="2750"/>
                </a:cxn>
                <a:cxn ang="0">
                  <a:pos x="32" y="2956"/>
                </a:cxn>
                <a:cxn ang="0">
                  <a:pos x="3" y="3165"/>
                </a:cxn>
                <a:cxn ang="0">
                  <a:pos x="41" y="3298"/>
                </a:cxn>
                <a:cxn ang="0">
                  <a:pos x="152" y="3403"/>
                </a:cxn>
                <a:cxn ang="0">
                  <a:pos x="333" y="3551"/>
                </a:cxn>
                <a:cxn ang="0">
                  <a:pos x="598" y="3784"/>
                </a:cxn>
                <a:cxn ang="0">
                  <a:pos x="993" y="3996"/>
                </a:cxn>
                <a:cxn ang="0">
                  <a:pos x="1416" y="4129"/>
                </a:cxn>
                <a:cxn ang="0">
                  <a:pos x="1744" y="4142"/>
                </a:cxn>
                <a:cxn ang="0">
                  <a:pos x="1900" y="3999"/>
                </a:cxn>
                <a:cxn ang="0">
                  <a:pos x="2061" y="3706"/>
                </a:cxn>
                <a:cxn ang="0">
                  <a:pos x="2219" y="3360"/>
                </a:cxn>
                <a:cxn ang="0">
                  <a:pos x="2317" y="3066"/>
                </a:cxn>
                <a:cxn ang="0">
                  <a:pos x="2313" y="2897"/>
                </a:cxn>
                <a:cxn ang="0">
                  <a:pos x="2278" y="2719"/>
                </a:cxn>
                <a:cxn ang="0">
                  <a:pos x="2253" y="2517"/>
                </a:cxn>
                <a:cxn ang="0">
                  <a:pos x="2262" y="2300"/>
                </a:cxn>
                <a:cxn ang="0">
                  <a:pos x="2326" y="2080"/>
                </a:cxn>
                <a:cxn ang="0">
                  <a:pos x="2398" y="1851"/>
                </a:cxn>
                <a:cxn ang="0">
                  <a:pos x="2458" y="1598"/>
                </a:cxn>
                <a:cxn ang="0">
                  <a:pos x="2484" y="1305"/>
                </a:cxn>
                <a:cxn ang="0">
                  <a:pos x="2459" y="965"/>
                </a:cxn>
                <a:cxn ang="0">
                  <a:pos x="2397" y="635"/>
                </a:cxn>
                <a:cxn ang="0">
                  <a:pos x="2285" y="359"/>
                </a:cxn>
                <a:cxn ang="0">
                  <a:pos x="2119" y="165"/>
                </a:cxn>
                <a:cxn ang="0">
                  <a:pos x="1892" y="75"/>
                </a:cxn>
                <a:cxn ang="0">
                  <a:pos x="1675" y="30"/>
                </a:cxn>
                <a:cxn ang="0">
                  <a:pos x="1502" y="10"/>
                </a:cxn>
                <a:cxn ang="0">
                  <a:pos x="1404" y="6"/>
                </a:cxn>
              </a:cxnLst>
              <a:rect l="0" t="0" r="r" b="b"/>
              <a:pathLst>
                <a:path w="2484" h="4154">
                  <a:moveTo>
                    <a:pt x="1391" y="6"/>
                  </a:moveTo>
                  <a:lnTo>
                    <a:pt x="1154" y="0"/>
                  </a:lnTo>
                  <a:lnTo>
                    <a:pt x="905" y="29"/>
                  </a:lnTo>
                  <a:lnTo>
                    <a:pt x="656" y="87"/>
                  </a:lnTo>
                  <a:lnTo>
                    <a:pt x="427" y="171"/>
                  </a:lnTo>
                  <a:lnTo>
                    <a:pt x="229" y="276"/>
                  </a:lnTo>
                  <a:lnTo>
                    <a:pt x="83" y="401"/>
                  </a:lnTo>
                  <a:lnTo>
                    <a:pt x="0" y="541"/>
                  </a:lnTo>
                  <a:lnTo>
                    <a:pt x="0" y="696"/>
                  </a:lnTo>
                  <a:lnTo>
                    <a:pt x="51" y="868"/>
                  </a:lnTo>
                  <a:lnTo>
                    <a:pt x="116" y="1067"/>
                  </a:lnTo>
                  <a:lnTo>
                    <a:pt x="184" y="1280"/>
                  </a:lnTo>
                  <a:lnTo>
                    <a:pt x="249" y="1500"/>
                  </a:lnTo>
                  <a:lnTo>
                    <a:pt x="301" y="1713"/>
                  </a:lnTo>
                  <a:lnTo>
                    <a:pt x="336" y="1912"/>
                  </a:lnTo>
                  <a:lnTo>
                    <a:pt x="343" y="2086"/>
                  </a:lnTo>
                  <a:lnTo>
                    <a:pt x="316" y="2226"/>
                  </a:lnTo>
                  <a:lnTo>
                    <a:pt x="267" y="2339"/>
                  </a:lnTo>
                  <a:lnTo>
                    <a:pt x="219" y="2447"/>
                  </a:lnTo>
                  <a:lnTo>
                    <a:pt x="174" y="2550"/>
                  </a:lnTo>
                  <a:lnTo>
                    <a:pt x="132" y="2651"/>
                  </a:lnTo>
                  <a:lnTo>
                    <a:pt x="93" y="2750"/>
                  </a:lnTo>
                  <a:lnTo>
                    <a:pt x="60" y="2852"/>
                  </a:lnTo>
                  <a:lnTo>
                    <a:pt x="32" y="2956"/>
                  </a:lnTo>
                  <a:lnTo>
                    <a:pt x="12" y="3068"/>
                  </a:lnTo>
                  <a:lnTo>
                    <a:pt x="3" y="3165"/>
                  </a:lnTo>
                  <a:lnTo>
                    <a:pt x="13" y="3240"/>
                  </a:lnTo>
                  <a:lnTo>
                    <a:pt x="41" y="3298"/>
                  </a:lnTo>
                  <a:lnTo>
                    <a:pt x="89" y="3351"/>
                  </a:lnTo>
                  <a:lnTo>
                    <a:pt x="152" y="3403"/>
                  </a:lnTo>
                  <a:lnTo>
                    <a:pt x="235" y="3468"/>
                  </a:lnTo>
                  <a:lnTo>
                    <a:pt x="333" y="3551"/>
                  </a:lnTo>
                  <a:lnTo>
                    <a:pt x="450" y="3662"/>
                  </a:lnTo>
                  <a:lnTo>
                    <a:pt x="598" y="3784"/>
                  </a:lnTo>
                  <a:lnTo>
                    <a:pt x="785" y="3898"/>
                  </a:lnTo>
                  <a:lnTo>
                    <a:pt x="993" y="3996"/>
                  </a:lnTo>
                  <a:lnTo>
                    <a:pt x="1210" y="4076"/>
                  </a:lnTo>
                  <a:lnTo>
                    <a:pt x="1416" y="4129"/>
                  </a:lnTo>
                  <a:lnTo>
                    <a:pt x="1601" y="4154"/>
                  </a:lnTo>
                  <a:lnTo>
                    <a:pt x="1744" y="4142"/>
                  </a:lnTo>
                  <a:lnTo>
                    <a:pt x="1835" y="4095"/>
                  </a:lnTo>
                  <a:lnTo>
                    <a:pt x="1900" y="3999"/>
                  </a:lnTo>
                  <a:lnTo>
                    <a:pt x="1979" y="3866"/>
                  </a:lnTo>
                  <a:lnTo>
                    <a:pt x="2061" y="3706"/>
                  </a:lnTo>
                  <a:lnTo>
                    <a:pt x="2145" y="3533"/>
                  </a:lnTo>
                  <a:lnTo>
                    <a:pt x="2219" y="3360"/>
                  </a:lnTo>
                  <a:lnTo>
                    <a:pt x="2280" y="3201"/>
                  </a:lnTo>
                  <a:lnTo>
                    <a:pt x="2317" y="3066"/>
                  </a:lnTo>
                  <a:lnTo>
                    <a:pt x="2326" y="2974"/>
                  </a:lnTo>
                  <a:lnTo>
                    <a:pt x="2313" y="2897"/>
                  </a:lnTo>
                  <a:lnTo>
                    <a:pt x="2297" y="2812"/>
                  </a:lnTo>
                  <a:lnTo>
                    <a:pt x="2278" y="2719"/>
                  </a:lnTo>
                  <a:lnTo>
                    <a:pt x="2264" y="2621"/>
                  </a:lnTo>
                  <a:lnTo>
                    <a:pt x="2253" y="2517"/>
                  </a:lnTo>
                  <a:lnTo>
                    <a:pt x="2252" y="2410"/>
                  </a:lnTo>
                  <a:lnTo>
                    <a:pt x="2262" y="2300"/>
                  </a:lnTo>
                  <a:lnTo>
                    <a:pt x="2291" y="2191"/>
                  </a:lnTo>
                  <a:lnTo>
                    <a:pt x="2326" y="2080"/>
                  </a:lnTo>
                  <a:lnTo>
                    <a:pt x="2363" y="1969"/>
                  </a:lnTo>
                  <a:lnTo>
                    <a:pt x="2398" y="1851"/>
                  </a:lnTo>
                  <a:lnTo>
                    <a:pt x="2431" y="1730"/>
                  </a:lnTo>
                  <a:lnTo>
                    <a:pt x="2458" y="1598"/>
                  </a:lnTo>
                  <a:lnTo>
                    <a:pt x="2476" y="1458"/>
                  </a:lnTo>
                  <a:lnTo>
                    <a:pt x="2484" y="1305"/>
                  </a:lnTo>
                  <a:lnTo>
                    <a:pt x="2478" y="1140"/>
                  </a:lnTo>
                  <a:lnTo>
                    <a:pt x="2459" y="965"/>
                  </a:lnTo>
                  <a:lnTo>
                    <a:pt x="2433" y="796"/>
                  </a:lnTo>
                  <a:lnTo>
                    <a:pt x="2397" y="635"/>
                  </a:lnTo>
                  <a:lnTo>
                    <a:pt x="2349" y="489"/>
                  </a:lnTo>
                  <a:lnTo>
                    <a:pt x="2285" y="359"/>
                  </a:lnTo>
                  <a:lnTo>
                    <a:pt x="2210" y="250"/>
                  </a:lnTo>
                  <a:lnTo>
                    <a:pt x="2119" y="165"/>
                  </a:lnTo>
                  <a:lnTo>
                    <a:pt x="2010" y="111"/>
                  </a:lnTo>
                  <a:lnTo>
                    <a:pt x="1892" y="75"/>
                  </a:lnTo>
                  <a:lnTo>
                    <a:pt x="1780" y="49"/>
                  </a:lnTo>
                  <a:lnTo>
                    <a:pt x="1675" y="30"/>
                  </a:lnTo>
                  <a:lnTo>
                    <a:pt x="1582" y="19"/>
                  </a:lnTo>
                  <a:lnTo>
                    <a:pt x="1502" y="10"/>
                  </a:lnTo>
                  <a:lnTo>
                    <a:pt x="1443" y="7"/>
                  </a:lnTo>
                  <a:lnTo>
                    <a:pt x="1404" y="6"/>
                  </a:lnTo>
                  <a:lnTo>
                    <a:pt x="1391" y="6"/>
                  </a:lnTo>
                  <a:close/>
                </a:path>
              </a:pathLst>
            </a:custGeom>
            <a:solidFill>
              <a:srgbClr val="FFCFBB"/>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11" name="Freeform 8"/>
            <p:cNvSpPr>
              <a:spLocks/>
            </p:cNvSpPr>
            <p:nvPr/>
          </p:nvSpPr>
          <p:spPr bwMode="auto">
            <a:xfrm>
              <a:off x="2396" y="886"/>
              <a:ext cx="801" cy="1341"/>
            </a:xfrm>
            <a:custGeom>
              <a:avLst/>
              <a:gdLst/>
              <a:ahLst/>
              <a:cxnLst>
                <a:cxn ang="0">
                  <a:pos x="1117" y="0"/>
                </a:cxn>
                <a:cxn ang="0">
                  <a:pos x="636" y="83"/>
                </a:cxn>
                <a:cxn ang="0">
                  <a:pos x="223" y="266"/>
                </a:cxn>
                <a:cxn ang="0">
                  <a:pos x="2" y="524"/>
                </a:cxn>
                <a:cxn ang="0">
                  <a:pos x="50" y="839"/>
                </a:cxn>
                <a:cxn ang="0">
                  <a:pos x="178" y="1240"/>
                </a:cxn>
                <a:cxn ang="0">
                  <a:pos x="293" y="1658"/>
                </a:cxn>
                <a:cxn ang="0">
                  <a:pos x="332" y="2019"/>
                </a:cxn>
                <a:cxn ang="0">
                  <a:pos x="258" y="2265"/>
                </a:cxn>
                <a:cxn ang="0">
                  <a:pos x="168" y="2469"/>
                </a:cxn>
                <a:cxn ang="0">
                  <a:pos x="90" y="2663"/>
                </a:cxn>
                <a:cxn ang="0">
                  <a:pos x="31" y="2862"/>
                </a:cxn>
                <a:cxn ang="0">
                  <a:pos x="3" y="3065"/>
                </a:cxn>
                <a:cxn ang="0">
                  <a:pos x="39" y="3194"/>
                </a:cxn>
                <a:cxn ang="0">
                  <a:pos x="146" y="3296"/>
                </a:cxn>
                <a:cxn ang="0">
                  <a:pos x="322" y="3439"/>
                </a:cxn>
                <a:cxn ang="0">
                  <a:pos x="579" y="3667"/>
                </a:cxn>
                <a:cxn ang="0">
                  <a:pos x="963" y="3870"/>
                </a:cxn>
                <a:cxn ang="0">
                  <a:pos x="1372" y="3999"/>
                </a:cxn>
                <a:cxn ang="0">
                  <a:pos x="1689" y="4012"/>
                </a:cxn>
                <a:cxn ang="0">
                  <a:pos x="1840" y="3873"/>
                </a:cxn>
                <a:cxn ang="0">
                  <a:pos x="1997" y="3588"/>
                </a:cxn>
                <a:cxn ang="0">
                  <a:pos x="2151" y="3254"/>
                </a:cxn>
                <a:cxn ang="0">
                  <a:pos x="2245" y="2969"/>
                </a:cxn>
                <a:cxn ang="0">
                  <a:pos x="2240" y="2806"/>
                </a:cxn>
                <a:cxn ang="0">
                  <a:pos x="2207" y="2632"/>
                </a:cxn>
                <a:cxn ang="0">
                  <a:pos x="2183" y="2437"/>
                </a:cxn>
                <a:cxn ang="0">
                  <a:pos x="2193" y="2227"/>
                </a:cxn>
                <a:cxn ang="0">
                  <a:pos x="2253" y="2015"/>
                </a:cxn>
                <a:cxn ang="0">
                  <a:pos x="2324" y="1792"/>
                </a:cxn>
                <a:cxn ang="0">
                  <a:pos x="2381" y="1548"/>
                </a:cxn>
                <a:cxn ang="0">
                  <a:pos x="2405" y="1264"/>
                </a:cxn>
                <a:cxn ang="0">
                  <a:pos x="2384" y="933"/>
                </a:cxn>
                <a:cxn ang="0">
                  <a:pos x="2321" y="615"/>
                </a:cxn>
                <a:cxn ang="0">
                  <a:pos x="2214" y="346"/>
                </a:cxn>
                <a:cxn ang="0">
                  <a:pos x="2052" y="159"/>
                </a:cxn>
                <a:cxn ang="0">
                  <a:pos x="1834" y="72"/>
                </a:cxn>
                <a:cxn ang="0">
                  <a:pos x="1621" y="29"/>
                </a:cxn>
                <a:cxn ang="0">
                  <a:pos x="1456" y="10"/>
                </a:cxn>
                <a:cxn ang="0">
                  <a:pos x="1359" y="6"/>
                </a:cxn>
              </a:cxnLst>
              <a:rect l="0" t="0" r="r" b="b"/>
              <a:pathLst>
                <a:path w="2405" h="4022">
                  <a:moveTo>
                    <a:pt x="1348" y="6"/>
                  </a:moveTo>
                  <a:lnTo>
                    <a:pt x="1117" y="0"/>
                  </a:lnTo>
                  <a:lnTo>
                    <a:pt x="876" y="28"/>
                  </a:lnTo>
                  <a:lnTo>
                    <a:pt x="636" y="83"/>
                  </a:lnTo>
                  <a:lnTo>
                    <a:pt x="414" y="165"/>
                  </a:lnTo>
                  <a:lnTo>
                    <a:pt x="223" y="266"/>
                  </a:lnTo>
                  <a:lnTo>
                    <a:pt x="81" y="388"/>
                  </a:lnTo>
                  <a:lnTo>
                    <a:pt x="2" y="524"/>
                  </a:lnTo>
                  <a:lnTo>
                    <a:pt x="0" y="673"/>
                  </a:lnTo>
                  <a:lnTo>
                    <a:pt x="50" y="839"/>
                  </a:lnTo>
                  <a:lnTo>
                    <a:pt x="112" y="1033"/>
                  </a:lnTo>
                  <a:lnTo>
                    <a:pt x="178" y="1240"/>
                  </a:lnTo>
                  <a:lnTo>
                    <a:pt x="242" y="1452"/>
                  </a:lnTo>
                  <a:lnTo>
                    <a:pt x="293" y="1658"/>
                  </a:lnTo>
                  <a:lnTo>
                    <a:pt x="326" y="1851"/>
                  </a:lnTo>
                  <a:lnTo>
                    <a:pt x="332" y="2019"/>
                  </a:lnTo>
                  <a:lnTo>
                    <a:pt x="306" y="2155"/>
                  </a:lnTo>
                  <a:lnTo>
                    <a:pt x="258" y="2265"/>
                  </a:lnTo>
                  <a:lnTo>
                    <a:pt x="213" y="2369"/>
                  </a:lnTo>
                  <a:lnTo>
                    <a:pt x="168" y="2469"/>
                  </a:lnTo>
                  <a:lnTo>
                    <a:pt x="128" y="2567"/>
                  </a:lnTo>
                  <a:lnTo>
                    <a:pt x="90" y="2663"/>
                  </a:lnTo>
                  <a:lnTo>
                    <a:pt x="58" y="2761"/>
                  </a:lnTo>
                  <a:lnTo>
                    <a:pt x="31" y="2862"/>
                  </a:lnTo>
                  <a:lnTo>
                    <a:pt x="12" y="2971"/>
                  </a:lnTo>
                  <a:lnTo>
                    <a:pt x="3" y="3065"/>
                  </a:lnTo>
                  <a:lnTo>
                    <a:pt x="12" y="3137"/>
                  </a:lnTo>
                  <a:lnTo>
                    <a:pt x="39" y="3194"/>
                  </a:lnTo>
                  <a:lnTo>
                    <a:pt x="84" y="3246"/>
                  </a:lnTo>
                  <a:lnTo>
                    <a:pt x="146" y="3296"/>
                  </a:lnTo>
                  <a:lnTo>
                    <a:pt x="226" y="3360"/>
                  </a:lnTo>
                  <a:lnTo>
                    <a:pt x="322" y="3439"/>
                  </a:lnTo>
                  <a:lnTo>
                    <a:pt x="436" y="3548"/>
                  </a:lnTo>
                  <a:lnTo>
                    <a:pt x="579" y="3667"/>
                  </a:lnTo>
                  <a:lnTo>
                    <a:pt x="760" y="3776"/>
                  </a:lnTo>
                  <a:lnTo>
                    <a:pt x="963" y="3870"/>
                  </a:lnTo>
                  <a:lnTo>
                    <a:pt x="1172" y="3947"/>
                  </a:lnTo>
                  <a:lnTo>
                    <a:pt x="1372" y="3999"/>
                  </a:lnTo>
                  <a:lnTo>
                    <a:pt x="1550" y="4022"/>
                  </a:lnTo>
                  <a:lnTo>
                    <a:pt x="1689" y="4012"/>
                  </a:lnTo>
                  <a:lnTo>
                    <a:pt x="1777" y="3966"/>
                  </a:lnTo>
                  <a:lnTo>
                    <a:pt x="1840" y="3873"/>
                  </a:lnTo>
                  <a:lnTo>
                    <a:pt x="1916" y="3745"/>
                  </a:lnTo>
                  <a:lnTo>
                    <a:pt x="1997" y="3588"/>
                  </a:lnTo>
                  <a:lnTo>
                    <a:pt x="2078" y="3422"/>
                  </a:lnTo>
                  <a:lnTo>
                    <a:pt x="2151" y="3254"/>
                  </a:lnTo>
                  <a:lnTo>
                    <a:pt x="2209" y="3100"/>
                  </a:lnTo>
                  <a:lnTo>
                    <a:pt x="2245" y="2969"/>
                  </a:lnTo>
                  <a:lnTo>
                    <a:pt x="2253" y="2880"/>
                  </a:lnTo>
                  <a:lnTo>
                    <a:pt x="2240" y="2806"/>
                  </a:lnTo>
                  <a:lnTo>
                    <a:pt x="2225" y="2724"/>
                  </a:lnTo>
                  <a:lnTo>
                    <a:pt x="2207" y="2632"/>
                  </a:lnTo>
                  <a:lnTo>
                    <a:pt x="2193" y="2538"/>
                  </a:lnTo>
                  <a:lnTo>
                    <a:pt x="2183" y="2437"/>
                  </a:lnTo>
                  <a:lnTo>
                    <a:pt x="2183" y="2333"/>
                  </a:lnTo>
                  <a:lnTo>
                    <a:pt x="2193" y="2227"/>
                  </a:lnTo>
                  <a:lnTo>
                    <a:pt x="2220" y="2122"/>
                  </a:lnTo>
                  <a:lnTo>
                    <a:pt x="2253" y="2015"/>
                  </a:lnTo>
                  <a:lnTo>
                    <a:pt x="2290" y="1906"/>
                  </a:lnTo>
                  <a:lnTo>
                    <a:pt x="2324" y="1792"/>
                  </a:lnTo>
                  <a:lnTo>
                    <a:pt x="2356" y="1675"/>
                  </a:lnTo>
                  <a:lnTo>
                    <a:pt x="2381" y="1548"/>
                  </a:lnTo>
                  <a:lnTo>
                    <a:pt x="2398" y="1413"/>
                  </a:lnTo>
                  <a:lnTo>
                    <a:pt x="2405" y="1264"/>
                  </a:lnTo>
                  <a:lnTo>
                    <a:pt x="2401" y="1104"/>
                  </a:lnTo>
                  <a:lnTo>
                    <a:pt x="2384" y="933"/>
                  </a:lnTo>
                  <a:lnTo>
                    <a:pt x="2358" y="771"/>
                  </a:lnTo>
                  <a:lnTo>
                    <a:pt x="2321" y="615"/>
                  </a:lnTo>
                  <a:lnTo>
                    <a:pt x="2275" y="473"/>
                  </a:lnTo>
                  <a:lnTo>
                    <a:pt x="2214" y="346"/>
                  </a:lnTo>
                  <a:lnTo>
                    <a:pt x="2142" y="242"/>
                  </a:lnTo>
                  <a:lnTo>
                    <a:pt x="2052" y="159"/>
                  </a:lnTo>
                  <a:lnTo>
                    <a:pt x="1948" y="107"/>
                  </a:lnTo>
                  <a:lnTo>
                    <a:pt x="1834" y="72"/>
                  </a:lnTo>
                  <a:lnTo>
                    <a:pt x="1724" y="48"/>
                  </a:lnTo>
                  <a:lnTo>
                    <a:pt x="1621" y="29"/>
                  </a:lnTo>
                  <a:lnTo>
                    <a:pt x="1533" y="18"/>
                  </a:lnTo>
                  <a:lnTo>
                    <a:pt x="1456" y="10"/>
                  </a:lnTo>
                  <a:lnTo>
                    <a:pt x="1397" y="7"/>
                  </a:lnTo>
                  <a:lnTo>
                    <a:pt x="1359" y="6"/>
                  </a:lnTo>
                  <a:lnTo>
                    <a:pt x="1348" y="6"/>
                  </a:lnTo>
                  <a:close/>
                </a:path>
              </a:pathLst>
            </a:custGeom>
            <a:solidFill>
              <a:srgbClr val="FFCCB9"/>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6" name="Freeform 9"/>
            <p:cNvSpPr>
              <a:spLocks/>
            </p:cNvSpPr>
            <p:nvPr/>
          </p:nvSpPr>
          <p:spPr bwMode="auto">
            <a:xfrm>
              <a:off x="2414" y="899"/>
              <a:ext cx="776" cy="1298"/>
            </a:xfrm>
            <a:custGeom>
              <a:avLst/>
              <a:gdLst/>
              <a:ahLst/>
              <a:cxnLst>
                <a:cxn ang="0">
                  <a:pos x="1083" y="0"/>
                </a:cxn>
                <a:cxn ang="0">
                  <a:pos x="615" y="79"/>
                </a:cxn>
                <a:cxn ang="0">
                  <a:pos x="216" y="257"/>
                </a:cxn>
                <a:cxn ang="0">
                  <a:pos x="0" y="507"/>
                </a:cxn>
                <a:cxn ang="0">
                  <a:pos x="48" y="814"/>
                </a:cxn>
                <a:cxn ang="0">
                  <a:pos x="173" y="1200"/>
                </a:cxn>
                <a:cxn ang="0">
                  <a:pos x="282" y="1605"/>
                </a:cxn>
                <a:cxn ang="0">
                  <a:pos x="320" y="1955"/>
                </a:cxn>
                <a:cxn ang="0">
                  <a:pos x="249" y="2192"/>
                </a:cxn>
                <a:cxn ang="0">
                  <a:pos x="162" y="2389"/>
                </a:cxn>
                <a:cxn ang="0">
                  <a:pos x="87" y="2577"/>
                </a:cxn>
                <a:cxn ang="0">
                  <a:pos x="29" y="2769"/>
                </a:cxn>
                <a:cxn ang="0">
                  <a:pos x="2" y="2966"/>
                </a:cxn>
                <a:cxn ang="0">
                  <a:pos x="38" y="3092"/>
                </a:cxn>
                <a:cxn ang="0">
                  <a:pos x="142" y="3190"/>
                </a:cxn>
                <a:cxn ang="0">
                  <a:pos x="311" y="3329"/>
                </a:cxn>
                <a:cxn ang="0">
                  <a:pos x="560" y="3548"/>
                </a:cxn>
                <a:cxn ang="0">
                  <a:pos x="929" y="3746"/>
                </a:cxn>
                <a:cxn ang="0">
                  <a:pos x="1327" y="3870"/>
                </a:cxn>
                <a:cxn ang="0">
                  <a:pos x="1636" y="3885"/>
                </a:cxn>
                <a:cxn ang="0">
                  <a:pos x="1782" y="3750"/>
                </a:cxn>
                <a:cxn ang="0">
                  <a:pos x="1934" y="3474"/>
                </a:cxn>
                <a:cxn ang="0">
                  <a:pos x="2081" y="3150"/>
                </a:cxn>
                <a:cxn ang="0">
                  <a:pos x="2172" y="2875"/>
                </a:cxn>
                <a:cxn ang="0">
                  <a:pos x="2168" y="2716"/>
                </a:cxn>
                <a:cxn ang="0">
                  <a:pos x="2136" y="2550"/>
                </a:cxn>
                <a:cxn ang="0">
                  <a:pos x="2113" y="2359"/>
                </a:cxn>
                <a:cxn ang="0">
                  <a:pos x="2122" y="2156"/>
                </a:cxn>
                <a:cxn ang="0">
                  <a:pos x="2181" y="1949"/>
                </a:cxn>
                <a:cxn ang="0">
                  <a:pos x="2249" y="1735"/>
                </a:cxn>
                <a:cxn ang="0">
                  <a:pos x="2304" y="1500"/>
                </a:cxn>
                <a:cxn ang="0">
                  <a:pos x="2327" y="1225"/>
                </a:cxn>
                <a:cxn ang="0">
                  <a:pos x="2306" y="904"/>
                </a:cxn>
                <a:cxn ang="0">
                  <a:pos x="2246" y="596"/>
                </a:cxn>
                <a:cxn ang="0">
                  <a:pos x="2143" y="335"/>
                </a:cxn>
                <a:cxn ang="0">
                  <a:pos x="1986" y="155"/>
                </a:cxn>
                <a:cxn ang="0">
                  <a:pos x="1774" y="71"/>
                </a:cxn>
                <a:cxn ang="0">
                  <a:pos x="1569" y="29"/>
                </a:cxn>
                <a:cxn ang="0">
                  <a:pos x="1408" y="10"/>
                </a:cxn>
                <a:cxn ang="0">
                  <a:pos x="1316" y="6"/>
                </a:cxn>
              </a:cxnLst>
              <a:rect l="0" t="0" r="r" b="b"/>
              <a:pathLst>
                <a:path w="2327" h="3893">
                  <a:moveTo>
                    <a:pt x="1304" y="6"/>
                  </a:moveTo>
                  <a:lnTo>
                    <a:pt x="1083" y="0"/>
                  </a:lnTo>
                  <a:lnTo>
                    <a:pt x="848" y="27"/>
                  </a:lnTo>
                  <a:lnTo>
                    <a:pt x="615" y="79"/>
                  </a:lnTo>
                  <a:lnTo>
                    <a:pt x="401" y="159"/>
                  </a:lnTo>
                  <a:lnTo>
                    <a:pt x="216" y="257"/>
                  </a:lnTo>
                  <a:lnTo>
                    <a:pt x="78" y="376"/>
                  </a:lnTo>
                  <a:lnTo>
                    <a:pt x="0" y="507"/>
                  </a:lnTo>
                  <a:lnTo>
                    <a:pt x="0" y="652"/>
                  </a:lnTo>
                  <a:lnTo>
                    <a:pt x="48" y="814"/>
                  </a:lnTo>
                  <a:lnTo>
                    <a:pt x="109" y="1001"/>
                  </a:lnTo>
                  <a:lnTo>
                    <a:pt x="173" y="1200"/>
                  </a:lnTo>
                  <a:lnTo>
                    <a:pt x="233" y="1406"/>
                  </a:lnTo>
                  <a:lnTo>
                    <a:pt x="282" y="1605"/>
                  </a:lnTo>
                  <a:lnTo>
                    <a:pt x="314" y="1793"/>
                  </a:lnTo>
                  <a:lnTo>
                    <a:pt x="320" y="1955"/>
                  </a:lnTo>
                  <a:lnTo>
                    <a:pt x="296" y="2087"/>
                  </a:lnTo>
                  <a:lnTo>
                    <a:pt x="249" y="2192"/>
                  </a:lnTo>
                  <a:lnTo>
                    <a:pt x="206" y="2294"/>
                  </a:lnTo>
                  <a:lnTo>
                    <a:pt x="162" y="2389"/>
                  </a:lnTo>
                  <a:lnTo>
                    <a:pt x="125" y="2485"/>
                  </a:lnTo>
                  <a:lnTo>
                    <a:pt x="87" y="2577"/>
                  </a:lnTo>
                  <a:lnTo>
                    <a:pt x="57" y="2673"/>
                  </a:lnTo>
                  <a:lnTo>
                    <a:pt x="29" y="2769"/>
                  </a:lnTo>
                  <a:lnTo>
                    <a:pt x="10" y="2875"/>
                  </a:lnTo>
                  <a:lnTo>
                    <a:pt x="2" y="2966"/>
                  </a:lnTo>
                  <a:lnTo>
                    <a:pt x="12" y="3037"/>
                  </a:lnTo>
                  <a:lnTo>
                    <a:pt x="38" y="3092"/>
                  </a:lnTo>
                  <a:lnTo>
                    <a:pt x="83" y="3141"/>
                  </a:lnTo>
                  <a:lnTo>
                    <a:pt x="142" y="3190"/>
                  </a:lnTo>
                  <a:lnTo>
                    <a:pt x="219" y="3251"/>
                  </a:lnTo>
                  <a:lnTo>
                    <a:pt x="311" y="3329"/>
                  </a:lnTo>
                  <a:lnTo>
                    <a:pt x="421" y="3433"/>
                  </a:lnTo>
                  <a:lnTo>
                    <a:pt x="560" y="3548"/>
                  </a:lnTo>
                  <a:lnTo>
                    <a:pt x="735" y="3655"/>
                  </a:lnTo>
                  <a:lnTo>
                    <a:pt x="929" y="3746"/>
                  </a:lnTo>
                  <a:lnTo>
                    <a:pt x="1133" y="3821"/>
                  </a:lnTo>
                  <a:lnTo>
                    <a:pt x="1327" y="3870"/>
                  </a:lnTo>
                  <a:lnTo>
                    <a:pt x="1501" y="3893"/>
                  </a:lnTo>
                  <a:lnTo>
                    <a:pt x="1636" y="3885"/>
                  </a:lnTo>
                  <a:lnTo>
                    <a:pt x="1721" y="3840"/>
                  </a:lnTo>
                  <a:lnTo>
                    <a:pt x="1782" y="3750"/>
                  </a:lnTo>
                  <a:lnTo>
                    <a:pt x="1856" y="3624"/>
                  </a:lnTo>
                  <a:lnTo>
                    <a:pt x="1934" y="3474"/>
                  </a:lnTo>
                  <a:lnTo>
                    <a:pt x="2012" y="3313"/>
                  </a:lnTo>
                  <a:lnTo>
                    <a:pt x="2081" y="3150"/>
                  </a:lnTo>
                  <a:lnTo>
                    <a:pt x="2138" y="3001"/>
                  </a:lnTo>
                  <a:lnTo>
                    <a:pt x="2172" y="2875"/>
                  </a:lnTo>
                  <a:lnTo>
                    <a:pt x="2181" y="2788"/>
                  </a:lnTo>
                  <a:lnTo>
                    <a:pt x="2168" y="2716"/>
                  </a:lnTo>
                  <a:lnTo>
                    <a:pt x="2154" y="2638"/>
                  </a:lnTo>
                  <a:lnTo>
                    <a:pt x="2136" y="2550"/>
                  </a:lnTo>
                  <a:lnTo>
                    <a:pt x="2123" y="2457"/>
                  </a:lnTo>
                  <a:lnTo>
                    <a:pt x="2113" y="2359"/>
                  </a:lnTo>
                  <a:lnTo>
                    <a:pt x="2112" y="2259"/>
                  </a:lnTo>
                  <a:lnTo>
                    <a:pt x="2122" y="2156"/>
                  </a:lnTo>
                  <a:lnTo>
                    <a:pt x="2148" y="2054"/>
                  </a:lnTo>
                  <a:lnTo>
                    <a:pt x="2181" y="1949"/>
                  </a:lnTo>
                  <a:lnTo>
                    <a:pt x="2216" y="1845"/>
                  </a:lnTo>
                  <a:lnTo>
                    <a:pt x="2249" y="1735"/>
                  </a:lnTo>
                  <a:lnTo>
                    <a:pt x="2281" y="1623"/>
                  </a:lnTo>
                  <a:lnTo>
                    <a:pt x="2304" y="1500"/>
                  </a:lnTo>
                  <a:lnTo>
                    <a:pt x="2321" y="1368"/>
                  </a:lnTo>
                  <a:lnTo>
                    <a:pt x="2327" y="1225"/>
                  </a:lnTo>
                  <a:lnTo>
                    <a:pt x="2323" y="1069"/>
                  </a:lnTo>
                  <a:lnTo>
                    <a:pt x="2306" y="904"/>
                  </a:lnTo>
                  <a:lnTo>
                    <a:pt x="2282" y="746"/>
                  </a:lnTo>
                  <a:lnTo>
                    <a:pt x="2246" y="596"/>
                  </a:lnTo>
                  <a:lnTo>
                    <a:pt x="2203" y="458"/>
                  </a:lnTo>
                  <a:lnTo>
                    <a:pt x="2143" y="335"/>
                  </a:lnTo>
                  <a:lnTo>
                    <a:pt x="2073" y="234"/>
                  </a:lnTo>
                  <a:lnTo>
                    <a:pt x="1986" y="155"/>
                  </a:lnTo>
                  <a:lnTo>
                    <a:pt x="1884" y="104"/>
                  </a:lnTo>
                  <a:lnTo>
                    <a:pt x="1774" y="71"/>
                  </a:lnTo>
                  <a:lnTo>
                    <a:pt x="1669" y="46"/>
                  </a:lnTo>
                  <a:lnTo>
                    <a:pt x="1569" y="29"/>
                  </a:lnTo>
                  <a:lnTo>
                    <a:pt x="1484" y="17"/>
                  </a:lnTo>
                  <a:lnTo>
                    <a:pt x="1408" y="10"/>
                  </a:lnTo>
                  <a:lnTo>
                    <a:pt x="1352" y="7"/>
                  </a:lnTo>
                  <a:lnTo>
                    <a:pt x="1316" y="6"/>
                  </a:lnTo>
                  <a:lnTo>
                    <a:pt x="1304" y="6"/>
                  </a:lnTo>
                  <a:close/>
                </a:path>
              </a:pathLst>
            </a:custGeom>
            <a:solidFill>
              <a:srgbClr val="FFC8B8"/>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7" name="Freeform 10"/>
            <p:cNvSpPr>
              <a:spLocks/>
            </p:cNvSpPr>
            <p:nvPr/>
          </p:nvSpPr>
          <p:spPr bwMode="auto">
            <a:xfrm>
              <a:off x="2432" y="912"/>
              <a:ext cx="751" cy="1254"/>
            </a:xfrm>
            <a:custGeom>
              <a:avLst/>
              <a:gdLst/>
              <a:ahLst/>
              <a:cxnLst>
                <a:cxn ang="0">
                  <a:pos x="1045" y="0"/>
                </a:cxn>
                <a:cxn ang="0">
                  <a:pos x="595" y="78"/>
                </a:cxn>
                <a:cxn ang="0">
                  <a:pos x="209" y="249"/>
                </a:cxn>
                <a:cxn ang="0">
                  <a:pos x="0" y="490"/>
                </a:cxn>
                <a:cxn ang="0">
                  <a:pos x="47" y="785"/>
                </a:cxn>
                <a:cxn ang="0">
                  <a:pos x="167" y="1160"/>
                </a:cxn>
                <a:cxn ang="0">
                  <a:pos x="274" y="1552"/>
                </a:cxn>
                <a:cxn ang="0">
                  <a:pos x="310" y="1890"/>
                </a:cxn>
                <a:cxn ang="0">
                  <a:pos x="242" y="2119"/>
                </a:cxn>
                <a:cxn ang="0">
                  <a:pos x="158" y="2308"/>
                </a:cxn>
                <a:cxn ang="0">
                  <a:pos x="84" y="2490"/>
                </a:cxn>
                <a:cxn ang="0">
                  <a:pos x="29" y="2678"/>
                </a:cxn>
                <a:cxn ang="0">
                  <a:pos x="2" y="2868"/>
                </a:cxn>
                <a:cxn ang="0">
                  <a:pos x="36" y="2988"/>
                </a:cxn>
                <a:cxn ang="0">
                  <a:pos x="136" y="3085"/>
                </a:cxn>
                <a:cxn ang="0">
                  <a:pos x="301" y="3218"/>
                </a:cxn>
                <a:cxn ang="0">
                  <a:pos x="542" y="3430"/>
                </a:cxn>
                <a:cxn ang="0">
                  <a:pos x="900" y="3621"/>
                </a:cxn>
                <a:cxn ang="0">
                  <a:pos x="1282" y="3740"/>
                </a:cxn>
                <a:cxn ang="0">
                  <a:pos x="1581" y="3754"/>
                </a:cxn>
                <a:cxn ang="0">
                  <a:pos x="1721" y="3624"/>
                </a:cxn>
                <a:cxn ang="0">
                  <a:pos x="1869" y="3358"/>
                </a:cxn>
                <a:cxn ang="0">
                  <a:pos x="2010" y="3044"/>
                </a:cxn>
                <a:cxn ang="0">
                  <a:pos x="2100" y="2778"/>
                </a:cxn>
                <a:cxn ang="0">
                  <a:pos x="2097" y="2625"/>
                </a:cxn>
                <a:cxn ang="0">
                  <a:pos x="2065" y="2463"/>
                </a:cxn>
                <a:cxn ang="0">
                  <a:pos x="2042" y="2279"/>
                </a:cxn>
                <a:cxn ang="0">
                  <a:pos x="2052" y="2084"/>
                </a:cxn>
                <a:cxn ang="0">
                  <a:pos x="2109" y="1884"/>
                </a:cxn>
                <a:cxn ang="0">
                  <a:pos x="2174" y="1678"/>
                </a:cxn>
                <a:cxn ang="0">
                  <a:pos x="2227" y="1449"/>
                </a:cxn>
                <a:cxn ang="0">
                  <a:pos x="2251" y="1183"/>
                </a:cxn>
                <a:cxn ang="0">
                  <a:pos x="2229" y="873"/>
                </a:cxn>
                <a:cxn ang="0">
                  <a:pos x="2172" y="574"/>
                </a:cxn>
                <a:cxn ang="0">
                  <a:pos x="2073" y="324"/>
                </a:cxn>
                <a:cxn ang="0">
                  <a:pos x="1921" y="150"/>
                </a:cxn>
                <a:cxn ang="0">
                  <a:pos x="1715" y="68"/>
                </a:cxn>
                <a:cxn ang="0">
                  <a:pos x="1517" y="27"/>
                </a:cxn>
                <a:cxn ang="0">
                  <a:pos x="1361" y="10"/>
                </a:cxn>
                <a:cxn ang="0">
                  <a:pos x="1272" y="6"/>
                </a:cxn>
              </a:cxnLst>
              <a:rect l="0" t="0" r="r" b="b"/>
              <a:pathLst>
                <a:path w="2251" h="3763">
                  <a:moveTo>
                    <a:pt x="1261" y="6"/>
                  </a:moveTo>
                  <a:lnTo>
                    <a:pt x="1045" y="0"/>
                  </a:lnTo>
                  <a:lnTo>
                    <a:pt x="819" y="26"/>
                  </a:lnTo>
                  <a:lnTo>
                    <a:pt x="595" y="78"/>
                  </a:lnTo>
                  <a:lnTo>
                    <a:pt x="388" y="155"/>
                  </a:lnTo>
                  <a:lnTo>
                    <a:pt x="209" y="249"/>
                  </a:lnTo>
                  <a:lnTo>
                    <a:pt x="76" y="363"/>
                  </a:lnTo>
                  <a:lnTo>
                    <a:pt x="0" y="490"/>
                  </a:lnTo>
                  <a:lnTo>
                    <a:pt x="0" y="630"/>
                  </a:lnTo>
                  <a:lnTo>
                    <a:pt x="47" y="785"/>
                  </a:lnTo>
                  <a:lnTo>
                    <a:pt x="104" y="966"/>
                  </a:lnTo>
                  <a:lnTo>
                    <a:pt x="167" y="1160"/>
                  </a:lnTo>
                  <a:lnTo>
                    <a:pt x="226" y="1358"/>
                  </a:lnTo>
                  <a:lnTo>
                    <a:pt x="274" y="1552"/>
                  </a:lnTo>
                  <a:lnTo>
                    <a:pt x="304" y="1732"/>
                  </a:lnTo>
                  <a:lnTo>
                    <a:pt x="310" y="1890"/>
                  </a:lnTo>
                  <a:lnTo>
                    <a:pt x="285" y="2017"/>
                  </a:lnTo>
                  <a:lnTo>
                    <a:pt x="242" y="2119"/>
                  </a:lnTo>
                  <a:lnTo>
                    <a:pt x="199" y="2217"/>
                  </a:lnTo>
                  <a:lnTo>
                    <a:pt x="158" y="2308"/>
                  </a:lnTo>
                  <a:lnTo>
                    <a:pt x="120" y="2401"/>
                  </a:lnTo>
                  <a:lnTo>
                    <a:pt x="84" y="2490"/>
                  </a:lnTo>
                  <a:lnTo>
                    <a:pt x="54" y="2583"/>
                  </a:lnTo>
                  <a:lnTo>
                    <a:pt x="29" y="2678"/>
                  </a:lnTo>
                  <a:lnTo>
                    <a:pt x="10" y="2780"/>
                  </a:lnTo>
                  <a:lnTo>
                    <a:pt x="2" y="2868"/>
                  </a:lnTo>
                  <a:lnTo>
                    <a:pt x="12" y="2936"/>
                  </a:lnTo>
                  <a:lnTo>
                    <a:pt x="36" y="2988"/>
                  </a:lnTo>
                  <a:lnTo>
                    <a:pt x="80" y="3037"/>
                  </a:lnTo>
                  <a:lnTo>
                    <a:pt x="136" y="3085"/>
                  </a:lnTo>
                  <a:lnTo>
                    <a:pt x="212" y="3143"/>
                  </a:lnTo>
                  <a:lnTo>
                    <a:pt x="301" y="3218"/>
                  </a:lnTo>
                  <a:lnTo>
                    <a:pt x="408" y="3319"/>
                  </a:lnTo>
                  <a:lnTo>
                    <a:pt x="542" y="3430"/>
                  </a:lnTo>
                  <a:lnTo>
                    <a:pt x="711" y="3533"/>
                  </a:lnTo>
                  <a:lnTo>
                    <a:pt x="900" y="3621"/>
                  </a:lnTo>
                  <a:lnTo>
                    <a:pt x="1096" y="3692"/>
                  </a:lnTo>
                  <a:lnTo>
                    <a:pt x="1282" y="3740"/>
                  </a:lnTo>
                  <a:lnTo>
                    <a:pt x="1450" y="3763"/>
                  </a:lnTo>
                  <a:lnTo>
                    <a:pt x="1581" y="3754"/>
                  </a:lnTo>
                  <a:lnTo>
                    <a:pt x="1663" y="3711"/>
                  </a:lnTo>
                  <a:lnTo>
                    <a:pt x="1721" y="3624"/>
                  </a:lnTo>
                  <a:lnTo>
                    <a:pt x="1792" y="3504"/>
                  </a:lnTo>
                  <a:lnTo>
                    <a:pt x="1869" y="3358"/>
                  </a:lnTo>
                  <a:lnTo>
                    <a:pt x="1944" y="3202"/>
                  </a:lnTo>
                  <a:lnTo>
                    <a:pt x="2010" y="3044"/>
                  </a:lnTo>
                  <a:lnTo>
                    <a:pt x="2065" y="2900"/>
                  </a:lnTo>
                  <a:lnTo>
                    <a:pt x="2100" y="2778"/>
                  </a:lnTo>
                  <a:lnTo>
                    <a:pt x="2109" y="2694"/>
                  </a:lnTo>
                  <a:lnTo>
                    <a:pt x="2097" y="2625"/>
                  </a:lnTo>
                  <a:lnTo>
                    <a:pt x="2081" y="2548"/>
                  </a:lnTo>
                  <a:lnTo>
                    <a:pt x="2065" y="2463"/>
                  </a:lnTo>
                  <a:lnTo>
                    <a:pt x="2052" y="2375"/>
                  </a:lnTo>
                  <a:lnTo>
                    <a:pt x="2042" y="2279"/>
                  </a:lnTo>
                  <a:lnTo>
                    <a:pt x="2042" y="2182"/>
                  </a:lnTo>
                  <a:lnTo>
                    <a:pt x="2052" y="2084"/>
                  </a:lnTo>
                  <a:lnTo>
                    <a:pt x="2077" y="1986"/>
                  </a:lnTo>
                  <a:lnTo>
                    <a:pt x="2109" y="1884"/>
                  </a:lnTo>
                  <a:lnTo>
                    <a:pt x="2142" y="1783"/>
                  </a:lnTo>
                  <a:lnTo>
                    <a:pt x="2174" y="1678"/>
                  </a:lnTo>
                  <a:lnTo>
                    <a:pt x="2204" y="1568"/>
                  </a:lnTo>
                  <a:lnTo>
                    <a:pt x="2227" y="1449"/>
                  </a:lnTo>
                  <a:lnTo>
                    <a:pt x="2245" y="1322"/>
                  </a:lnTo>
                  <a:lnTo>
                    <a:pt x="2251" y="1183"/>
                  </a:lnTo>
                  <a:lnTo>
                    <a:pt x="2246" y="1032"/>
                  </a:lnTo>
                  <a:lnTo>
                    <a:pt x="2229" y="873"/>
                  </a:lnTo>
                  <a:lnTo>
                    <a:pt x="2206" y="720"/>
                  </a:lnTo>
                  <a:lnTo>
                    <a:pt x="2172" y="574"/>
                  </a:lnTo>
                  <a:lnTo>
                    <a:pt x="2129" y="442"/>
                  </a:lnTo>
                  <a:lnTo>
                    <a:pt x="2073" y="324"/>
                  </a:lnTo>
                  <a:lnTo>
                    <a:pt x="2003" y="225"/>
                  </a:lnTo>
                  <a:lnTo>
                    <a:pt x="1921" y="150"/>
                  </a:lnTo>
                  <a:lnTo>
                    <a:pt x="1822" y="101"/>
                  </a:lnTo>
                  <a:lnTo>
                    <a:pt x="1715" y="68"/>
                  </a:lnTo>
                  <a:lnTo>
                    <a:pt x="1612" y="45"/>
                  </a:lnTo>
                  <a:lnTo>
                    <a:pt x="1517" y="27"/>
                  </a:lnTo>
                  <a:lnTo>
                    <a:pt x="1433" y="17"/>
                  </a:lnTo>
                  <a:lnTo>
                    <a:pt x="1361" y="10"/>
                  </a:lnTo>
                  <a:lnTo>
                    <a:pt x="1307" y="7"/>
                  </a:lnTo>
                  <a:lnTo>
                    <a:pt x="1272" y="6"/>
                  </a:lnTo>
                  <a:lnTo>
                    <a:pt x="1261" y="6"/>
                  </a:lnTo>
                  <a:close/>
                </a:path>
              </a:pathLst>
            </a:custGeom>
            <a:solidFill>
              <a:srgbClr val="FFC5B7"/>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8" name="Freeform 11"/>
            <p:cNvSpPr>
              <a:spLocks/>
            </p:cNvSpPr>
            <p:nvPr/>
          </p:nvSpPr>
          <p:spPr bwMode="auto">
            <a:xfrm>
              <a:off x="2451" y="924"/>
              <a:ext cx="724" cy="1212"/>
            </a:xfrm>
            <a:custGeom>
              <a:avLst/>
              <a:gdLst/>
              <a:ahLst/>
              <a:cxnLst>
                <a:cxn ang="0">
                  <a:pos x="1009" y="0"/>
                </a:cxn>
                <a:cxn ang="0">
                  <a:pos x="573" y="77"/>
                </a:cxn>
                <a:cxn ang="0">
                  <a:pos x="201" y="242"/>
                </a:cxn>
                <a:cxn ang="0">
                  <a:pos x="0" y="475"/>
                </a:cxn>
                <a:cxn ang="0">
                  <a:pos x="45" y="760"/>
                </a:cxn>
                <a:cxn ang="0">
                  <a:pos x="161" y="1121"/>
                </a:cxn>
                <a:cxn ang="0">
                  <a:pos x="264" y="1499"/>
                </a:cxn>
                <a:cxn ang="0">
                  <a:pos x="300" y="1826"/>
                </a:cxn>
                <a:cxn ang="0">
                  <a:pos x="233" y="2047"/>
                </a:cxn>
                <a:cxn ang="0">
                  <a:pos x="152" y="2231"/>
                </a:cxn>
                <a:cxn ang="0">
                  <a:pos x="81" y="2407"/>
                </a:cxn>
                <a:cxn ang="0">
                  <a:pos x="28" y="2588"/>
                </a:cxn>
                <a:cxn ang="0">
                  <a:pos x="2" y="2770"/>
                </a:cxn>
                <a:cxn ang="0">
                  <a:pos x="35" y="2887"/>
                </a:cxn>
                <a:cxn ang="0">
                  <a:pos x="132" y="2978"/>
                </a:cxn>
                <a:cxn ang="0">
                  <a:pos x="290" y="3107"/>
                </a:cxn>
                <a:cxn ang="0">
                  <a:pos x="523" y="3312"/>
                </a:cxn>
                <a:cxn ang="0">
                  <a:pos x="869" y="3498"/>
                </a:cxn>
                <a:cxn ang="0">
                  <a:pos x="1239" y="3613"/>
                </a:cxn>
                <a:cxn ang="0">
                  <a:pos x="1526" y="3626"/>
                </a:cxn>
                <a:cxn ang="0">
                  <a:pos x="1662" y="3500"/>
                </a:cxn>
                <a:cxn ang="0">
                  <a:pos x="1803" y="3243"/>
                </a:cxn>
                <a:cxn ang="0">
                  <a:pos x="1942" y="2939"/>
                </a:cxn>
                <a:cxn ang="0">
                  <a:pos x="2026" y="2683"/>
                </a:cxn>
                <a:cxn ang="0">
                  <a:pos x="2023" y="2534"/>
                </a:cxn>
                <a:cxn ang="0">
                  <a:pos x="1993" y="2380"/>
                </a:cxn>
                <a:cxn ang="0">
                  <a:pos x="1971" y="2203"/>
                </a:cxn>
                <a:cxn ang="0">
                  <a:pos x="1981" y="2014"/>
                </a:cxn>
                <a:cxn ang="0">
                  <a:pos x="2035" y="1820"/>
                </a:cxn>
                <a:cxn ang="0">
                  <a:pos x="2099" y="1620"/>
                </a:cxn>
                <a:cxn ang="0">
                  <a:pos x="2149" y="1400"/>
                </a:cxn>
                <a:cxn ang="0">
                  <a:pos x="2172" y="1143"/>
                </a:cxn>
                <a:cxn ang="0">
                  <a:pos x="2152" y="845"/>
                </a:cxn>
                <a:cxn ang="0">
                  <a:pos x="2096" y="556"/>
                </a:cxn>
                <a:cxn ang="0">
                  <a:pos x="2000" y="314"/>
                </a:cxn>
                <a:cxn ang="0">
                  <a:pos x="1853" y="145"/>
                </a:cxn>
                <a:cxn ang="0">
                  <a:pos x="1656" y="67"/>
                </a:cxn>
                <a:cxn ang="0">
                  <a:pos x="1465" y="28"/>
                </a:cxn>
                <a:cxn ang="0">
                  <a:pos x="1314" y="11"/>
                </a:cxn>
                <a:cxn ang="0">
                  <a:pos x="1229" y="6"/>
                </a:cxn>
              </a:cxnLst>
              <a:rect l="0" t="0" r="r" b="b"/>
              <a:pathLst>
                <a:path w="2172" h="3635">
                  <a:moveTo>
                    <a:pt x="1217" y="6"/>
                  </a:moveTo>
                  <a:lnTo>
                    <a:pt x="1009" y="0"/>
                  </a:lnTo>
                  <a:lnTo>
                    <a:pt x="790" y="26"/>
                  </a:lnTo>
                  <a:lnTo>
                    <a:pt x="573" y="77"/>
                  </a:lnTo>
                  <a:lnTo>
                    <a:pt x="374" y="151"/>
                  </a:lnTo>
                  <a:lnTo>
                    <a:pt x="201" y="242"/>
                  </a:lnTo>
                  <a:lnTo>
                    <a:pt x="73" y="352"/>
                  </a:lnTo>
                  <a:lnTo>
                    <a:pt x="0" y="475"/>
                  </a:lnTo>
                  <a:lnTo>
                    <a:pt x="0" y="609"/>
                  </a:lnTo>
                  <a:lnTo>
                    <a:pt x="45" y="760"/>
                  </a:lnTo>
                  <a:lnTo>
                    <a:pt x="102" y="935"/>
                  </a:lnTo>
                  <a:lnTo>
                    <a:pt x="161" y="1121"/>
                  </a:lnTo>
                  <a:lnTo>
                    <a:pt x="217" y="1314"/>
                  </a:lnTo>
                  <a:lnTo>
                    <a:pt x="264" y="1499"/>
                  </a:lnTo>
                  <a:lnTo>
                    <a:pt x="294" y="1674"/>
                  </a:lnTo>
                  <a:lnTo>
                    <a:pt x="300" y="1826"/>
                  </a:lnTo>
                  <a:lnTo>
                    <a:pt x="277" y="1949"/>
                  </a:lnTo>
                  <a:lnTo>
                    <a:pt x="233" y="2047"/>
                  </a:lnTo>
                  <a:lnTo>
                    <a:pt x="193" y="2141"/>
                  </a:lnTo>
                  <a:lnTo>
                    <a:pt x="152" y="2231"/>
                  </a:lnTo>
                  <a:lnTo>
                    <a:pt x="116" y="2320"/>
                  </a:lnTo>
                  <a:lnTo>
                    <a:pt x="81" y="2407"/>
                  </a:lnTo>
                  <a:lnTo>
                    <a:pt x="52" y="2495"/>
                  </a:lnTo>
                  <a:lnTo>
                    <a:pt x="28" y="2588"/>
                  </a:lnTo>
                  <a:lnTo>
                    <a:pt x="10" y="2685"/>
                  </a:lnTo>
                  <a:lnTo>
                    <a:pt x="2" y="2770"/>
                  </a:lnTo>
                  <a:lnTo>
                    <a:pt x="10" y="2835"/>
                  </a:lnTo>
                  <a:lnTo>
                    <a:pt x="35" y="2887"/>
                  </a:lnTo>
                  <a:lnTo>
                    <a:pt x="77" y="2934"/>
                  </a:lnTo>
                  <a:lnTo>
                    <a:pt x="132" y="2978"/>
                  </a:lnTo>
                  <a:lnTo>
                    <a:pt x="204" y="3035"/>
                  </a:lnTo>
                  <a:lnTo>
                    <a:pt x="290" y="3107"/>
                  </a:lnTo>
                  <a:lnTo>
                    <a:pt x="394" y="3205"/>
                  </a:lnTo>
                  <a:lnTo>
                    <a:pt x="523" y="3312"/>
                  </a:lnTo>
                  <a:lnTo>
                    <a:pt x="686" y="3412"/>
                  </a:lnTo>
                  <a:lnTo>
                    <a:pt x="869" y="3498"/>
                  </a:lnTo>
                  <a:lnTo>
                    <a:pt x="1058" y="3567"/>
                  </a:lnTo>
                  <a:lnTo>
                    <a:pt x="1239" y="3613"/>
                  </a:lnTo>
                  <a:lnTo>
                    <a:pt x="1400" y="3635"/>
                  </a:lnTo>
                  <a:lnTo>
                    <a:pt x="1526" y="3626"/>
                  </a:lnTo>
                  <a:lnTo>
                    <a:pt x="1605" y="3584"/>
                  </a:lnTo>
                  <a:lnTo>
                    <a:pt x="1662" y="3500"/>
                  </a:lnTo>
                  <a:lnTo>
                    <a:pt x="1731" y="3383"/>
                  </a:lnTo>
                  <a:lnTo>
                    <a:pt x="1803" y="3243"/>
                  </a:lnTo>
                  <a:lnTo>
                    <a:pt x="1877" y="3093"/>
                  </a:lnTo>
                  <a:lnTo>
                    <a:pt x="1942" y="2939"/>
                  </a:lnTo>
                  <a:lnTo>
                    <a:pt x="1994" y="2800"/>
                  </a:lnTo>
                  <a:lnTo>
                    <a:pt x="2026" y="2683"/>
                  </a:lnTo>
                  <a:lnTo>
                    <a:pt x="2035" y="2602"/>
                  </a:lnTo>
                  <a:lnTo>
                    <a:pt x="2023" y="2534"/>
                  </a:lnTo>
                  <a:lnTo>
                    <a:pt x="2009" y="2461"/>
                  </a:lnTo>
                  <a:lnTo>
                    <a:pt x="1993" y="2380"/>
                  </a:lnTo>
                  <a:lnTo>
                    <a:pt x="1981" y="2294"/>
                  </a:lnTo>
                  <a:lnTo>
                    <a:pt x="1971" y="2203"/>
                  </a:lnTo>
                  <a:lnTo>
                    <a:pt x="1971" y="2109"/>
                  </a:lnTo>
                  <a:lnTo>
                    <a:pt x="1981" y="2014"/>
                  </a:lnTo>
                  <a:lnTo>
                    <a:pt x="2005" y="1918"/>
                  </a:lnTo>
                  <a:lnTo>
                    <a:pt x="2035" y="1820"/>
                  </a:lnTo>
                  <a:lnTo>
                    <a:pt x="2068" y="1723"/>
                  </a:lnTo>
                  <a:lnTo>
                    <a:pt x="2099" y="1620"/>
                  </a:lnTo>
                  <a:lnTo>
                    <a:pt x="2128" y="1515"/>
                  </a:lnTo>
                  <a:lnTo>
                    <a:pt x="2149" y="1400"/>
                  </a:lnTo>
                  <a:lnTo>
                    <a:pt x="2165" y="1278"/>
                  </a:lnTo>
                  <a:lnTo>
                    <a:pt x="2172" y="1143"/>
                  </a:lnTo>
                  <a:lnTo>
                    <a:pt x="2168" y="998"/>
                  </a:lnTo>
                  <a:lnTo>
                    <a:pt x="2152" y="845"/>
                  </a:lnTo>
                  <a:lnTo>
                    <a:pt x="2129" y="696"/>
                  </a:lnTo>
                  <a:lnTo>
                    <a:pt x="2096" y="556"/>
                  </a:lnTo>
                  <a:lnTo>
                    <a:pt x="2055" y="429"/>
                  </a:lnTo>
                  <a:lnTo>
                    <a:pt x="2000" y="314"/>
                  </a:lnTo>
                  <a:lnTo>
                    <a:pt x="1934" y="219"/>
                  </a:lnTo>
                  <a:lnTo>
                    <a:pt x="1853" y="145"/>
                  </a:lnTo>
                  <a:lnTo>
                    <a:pt x="1759" y="99"/>
                  </a:lnTo>
                  <a:lnTo>
                    <a:pt x="1656" y="67"/>
                  </a:lnTo>
                  <a:lnTo>
                    <a:pt x="1557" y="45"/>
                  </a:lnTo>
                  <a:lnTo>
                    <a:pt x="1465" y="28"/>
                  </a:lnTo>
                  <a:lnTo>
                    <a:pt x="1384" y="18"/>
                  </a:lnTo>
                  <a:lnTo>
                    <a:pt x="1314" y="11"/>
                  </a:lnTo>
                  <a:lnTo>
                    <a:pt x="1262" y="8"/>
                  </a:lnTo>
                  <a:lnTo>
                    <a:pt x="1229" y="6"/>
                  </a:lnTo>
                  <a:lnTo>
                    <a:pt x="1217" y="6"/>
                  </a:lnTo>
                  <a:close/>
                </a:path>
              </a:pathLst>
            </a:custGeom>
            <a:solidFill>
              <a:srgbClr val="FFC2B5"/>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9" name="Freeform 12"/>
            <p:cNvSpPr>
              <a:spLocks/>
            </p:cNvSpPr>
            <p:nvPr/>
          </p:nvSpPr>
          <p:spPr bwMode="auto">
            <a:xfrm>
              <a:off x="2672" y="970"/>
              <a:ext cx="370" cy="799"/>
            </a:xfrm>
            <a:custGeom>
              <a:avLst/>
              <a:gdLst/>
              <a:ahLst/>
              <a:cxnLst>
                <a:cxn ang="0">
                  <a:pos x="512" y="458"/>
                </a:cxn>
                <a:cxn ang="0">
                  <a:pos x="440" y="651"/>
                </a:cxn>
                <a:cxn ang="0">
                  <a:pos x="392" y="878"/>
                </a:cxn>
                <a:cxn ang="0">
                  <a:pos x="344" y="1213"/>
                </a:cxn>
                <a:cxn ang="0">
                  <a:pos x="317" y="1497"/>
                </a:cxn>
                <a:cxn ang="0">
                  <a:pos x="240" y="1631"/>
                </a:cxn>
                <a:cxn ang="0">
                  <a:pos x="149" y="1730"/>
                </a:cxn>
                <a:cxn ang="0">
                  <a:pos x="85" y="1812"/>
                </a:cxn>
                <a:cxn ang="0">
                  <a:pos x="54" y="1902"/>
                </a:cxn>
                <a:cxn ang="0">
                  <a:pos x="10" y="2074"/>
                </a:cxn>
                <a:cxn ang="0">
                  <a:pos x="9" y="2198"/>
                </a:cxn>
                <a:cxn ang="0">
                  <a:pos x="49" y="2243"/>
                </a:cxn>
                <a:cxn ang="0">
                  <a:pos x="98" y="2286"/>
                </a:cxn>
                <a:cxn ang="0">
                  <a:pos x="153" y="2331"/>
                </a:cxn>
                <a:cxn ang="0">
                  <a:pos x="204" y="2360"/>
                </a:cxn>
                <a:cxn ang="0">
                  <a:pos x="268" y="2359"/>
                </a:cxn>
                <a:cxn ang="0">
                  <a:pos x="350" y="2333"/>
                </a:cxn>
                <a:cxn ang="0">
                  <a:pos x="410" y="2318"/>
                </a:cxn>
                <a:cxn ang="0">
                  <a:pos x="486" y="2336"/>
                </a:cxn>
                <a:cxn ang="0">
                  <a:pos x="604" y="2373"/>
                </a:cxn>
                <a:cxn ang="0">
                  <a:pos x="724" y="2396"/>
                </a:cxn>
                <a:cxn ang="0">
                  <a:pos x="795" y="2372"/>
                </a:cxn>
                <a:cxn ang="0">
                  <a:pos x="890" y="2325"/>
                </a:cxn>
                <a:cxn ang="0">
                  <a:pos x="984" y="2279"/>
                </a:cxn>
                <a:cxn ang="0">
                  <a:pos x="1042" y="2226"/>
                </a:cxn>
                <a:cxn ang="0">
                  <a:pos x="1094" y="2136"/>
                </a:cxn>
                <a:cxn ang="0">
                  <a:pos x="1109" y="2054"/>
                </a:cxn>
                <a:cxn ang="0">
                  <a:pos x="1077" y="1942"/>
                </a:cxn>
                <a:cxn ang="0">
                  <a:pos x="1041" y="1811"/>
                </a:cxn>
                <a:cxn ang="0">
                  <a:pos x="1013" y="1728"/>
                </a:cxn>
                <a:cxn ang="0">
                  <a:pos x="961" y="1569"/>
                </a:cxn>
                <a:cxn ang="0">
                  <a:pos x="906" y="1368"/>
                </a:cxn>
                <a:cxn ang="0">
                  <a:pos x="871" y="1171"/>
                </a:cxn>
                <a:cxn ang="0">
                  <a:pos x="829" y="895"/>
                </a:cxn>
                <a:cxn ang="0">
                  <a:pos x="810" y="691"/>
                </a:cxn>
                <a:cxn ang="0">
                  <a:pos x="805" y="549"/>
                </a:cxn>
                <a:cxn ang="0">
                  <a:pos x="799" y="399"/>
                </a:cxn>
                <a:cxn ang="0">
                  <a:pos x="803" y="272"/>
                </a:cxn>
                <a:cxn ang="0">
                  <a:pos x="803" y="104"/>
                </a:cxn>
                <a:cxn ang="0">
                  <a:pos x="780" y="0"/>
                </a:cxn>
                <a:cxn ang="0">
                  <a:pos x="727" y="68"/>
                </a:cxn>
                <a:cxn ang="0">
                  <a:pos x="661" y="175"/>
                </a:cxn>
                <a:cxn ang="0">
                  <a:pos x="631" y="231"/>
                </a:cxn>
              </a:cxnLst>
              <a:rect l="0" t="0" r="r" b="b"/>
              <a:pathLst>
                <a:path w="1110" h="2396">
                  <a:moveTo>
                    <a:pt x="631" y="231"/>
                  </a:moveTo>
                  <a:lnTo>
                    <a:pt x="562" y="360"/>
                  </a:lnTo>
                  <a:lnTo>
                    <a:pt x="512" y="458"/>
                  </a:lnTo>
                  <a:lnTo>
                    <a:pt x="479" y="534"/>
                  </a:lnTo>
                  <a:lnTo>
                    <a:pt x="457" y="596"/>
                  </a:lnTo>
                  <a:lnTo>
                    <a:pt x="440" y="651"/>
                  </a:lnTo>
                  <a:lnTo>
                    <a:pt x="427" y="710"/>
                  </a:lnTo>
                  <a:lnTo>
                    <a:pt x="411" y="782"/>
                  </a:lnTo>
                  <a:lnTo>
                    <a:pt x="392" y="878"/>
                  </a:lnTo>
                  <a:lnTo>
                    <a:pt x="369" y="988"/>
                  </a:lnTo>
                  <a:lnTo>
                    <a:pt x="356" y="1102"/>
                  </a:lnTo>
                  <a:lnTo>
                    <a:pt x="344" y="1213"/>
                  </a:lnTo>
                  <a:lnTo>
                    <a:pt x="339" y="1320"/>
                  </a:lnTo>
                  <a:lnTo>
                    <a:pt x="329" y="1414"/>
                  </a:lnTo>
                  <a:lnTo>
                    <a:pt x="317" y="1497"/>
                  </a:lnTo>
                  <a:lnTo>
                    <a:pt x="300" y="1560"/>
                  </a:lnTo>
                  <a:lnTo>
                    <a:pt x="274" y="1602"/>
                  </a:lnTo>
                  <a:lnTo>
                    <a:pt x="240" y="1631"/>
                  </a:lnTo>
                  <a:lnTo>
                    <a:pt x="208" y="1663"/>
                  </a:lnTo>
                  <a:lnTo>
                    <a:pt x="177" y="1696"/>
                  </a:lnTo>
                  <a:lnTo>
                    <a:pt x="149" y="1730"/>
                  </a:lnTo>
                  <a:lnTo>
                    <a:pt x="123" y="1760"/>
                  </a:lnTo>
                  <a:lnTo>
                    <a:pt x="101" y="1789"/>
                  </a:lnTo>
                  <a:lnTo>
                    <a:pt x="85" y="1812"/>
                  </a:lnTo>
                  <a:lnTo>
                    <a:pt x="77" y="1832"/>
                  </a:lnTo>
                  <a:lnTo>
                    <a:pt x="67" y="1858"/>
                  </a:lnTo>
                  <a:lnTo>
                    <a:pt x="54" y="1902"/>
                  </a:lnTo>
                  <a:lnTo>
                    <a:pt x="38" y="1954"/>
                  </a:lnTo>
                  <a:lnTo>
                    <a:pt x="23" y="2015"/>
                  </a:lnTo>
                  <a:lnTo>
                    <a:pt x="10" y="2074"/>
                  </a:lnTo>
                  <a:lnTo>
                    <a:pt x="2" y="2127"/>
                  </a:lnTo>
                  <a:lnTo>
                    <a:pt x="0" y="2171"/>
                  </a:lnTo>
                  <a:lnTo>
                    <a:pt x="9" y="2198"/>
                  </a:lnTo>
                  <a:lnTo>
                    <a:pt x="22" y="2213"/>
                  </a:lnTo>
                  <a:lnTo>
                    <a:pt x="35" y="2229"/>
                  </a:lnTo>
                  <a:lnTo>
                    <a:pt x="49" y="2243"/>
                  </a:lnTo>
                  <a:lnTo>
                    <a:pt x="65" y="2257"/>
                  </a:lnTo>
                  <a:lnTo>
                    <a:pt x="81" y="2271"/>
                  </a:lnTo>
                  <a:lnTo>
                    <a:pt x="98" y="2286"/>
                  </a:lnTo>
                  <a:lnTo>
                    <a:pt x="116" y="2301"/>
                  </a:lnTo>
                  <a:lnTo>
                    <a:pt x="136" y="2318"/>
                  </a:lnTo>
                  <a:lnTo>
                    <a:pt x="153" y="2331"/>
                  </a:lnTo>
                  <a:lnTo>
                    <a:pt x="171" y="2343"/>
                  </a:lnTo>
                  <a:lnTo>
                    <a:pt x="187" y="2352"/>
                  </a:lnTo>
                  <a:lnTo>
                    <a:pt x="204" y="2360"/>
                  </a:lnTo>
                  <a:lnTo>
                    <a:pt x="221" y="2362"/>
                  </a:lnTo>
                  <a:lnTo>
                    <a:pt x="243" y="2362"/>
                  </a:lnTo>
                  <a:lnTo>
                    <a:pt x="268" y="2359"/>
                  </a:lnTo>
                  <a:lnTo>
                    <a:pt x="298" y="2352"/>
                  </a:lnTo>
                  <a:lnTo>
                    <a:pt x="326" y="2341"/>
                  </a:lnTo>
                  <a:lnTo>
                    <a:pt x="350" y="2333"/>
                  </a:lnTo>
                  <a:lnTo>
                    <a:pt x="372" y="2324"/>
                  </a:lnTo>
                  <a:lnTo>
                    <a:pt x="392" y="2321"/>
                  </a:lnTo>
                  <a:lnTo>
                    <a:pt x="410" y="2318"/>
                  </a:lnTo>
                  <a:lnTo>
                    <a:pt x="431" y="2320"/>
                  </a:lnTo>
                  <a:lnTo>
                    <a:pt x="456" y="2324"/>
                  </a:lnTo>
                  <a:lnTo>
                    <a:pt x="486" y="2336"/>
                  </a:lnTo>
                  <a:lnTo>
                    <a:pt x="520" y="2347"/>
                  </a:lnTo>
                  <a:lnTo>
                    <a:pt x="560" y="2362"/>
                  </a:lnTo>
                  <a:lnTo>
                    <a:pt x="604" y="2373"/>
                  </a:lnTo>
                  <a:lnTo>
                    <a:pt x="647" y="2385"/>
                  </a:lnTo>
                  <a:lnTo>
                    <a:pt x="687" y="2392"/>
                  </a:lnTo>
                  <a:lnTo>
                    <a:pt x="724" y="2396"/>
                  </a:lnTo>
                  <a:lnTo>
                    <a:pt x="754" y="2393"/>
                  </a:lnTo>
                  <a:lnTo>
                    <a:pt x="776" y="2386"/>
                  </a:lnTo>
                  <a:lnTo>
                    <a:pt x="795" y="2372"/>
                  </a:lnTo>
                  <a:lnTo>
                    <a:pt x="823" y="2357"/>
                  </a:lnTo>
                  <a:lnTo>
                    <a:pt x="855" y="2341"/>
                  </a:lnTo>
                  <a:lnTo>
                    <a:pt x="890" y="2325"/>
                  </a:lnTo>
                  <a:lnTo>
                    <a:pt x="923" y="2308"/>
                  </a:lnTo>
                  <a:lnTo>
                    <a:pt x="957" y="2294"/>
                  </a:lnTo>
                  <a:lnTo>
                    <a:pt x="984" y="2279"/>
                  </a:lnTo>
                  <a:lnTo>
                    <a:pt x="1006" y="2266"/>
                  </a:lnTo>
                  <a:lnTo>
                    <a:pt x="1022" y="2249"/>
                  </a:lnTo>
                  <a:lnTo>
                    <a:pt x="1042" y="2226"/>
                  </a:lnTo>
                  <a:lnTo>
                    <a:pt x="1061" y="2198"/>
                  </a:lnTo>
                  <a:lnTo>
                    <a:pt x="1080" y="2169"/>
                  </a:lnTo>
                  <a:lnTo>
                    <a:pt x="1094" y="2136"/>
                  </a:lnTo>
                  <a:lnTo>
                    <a:pt x="1104" y="2106"/>
                  </a:lnTo>
                  <a:lnTo>
                    <a:pt x="1110" y="2077"/>
                  </a:lnTo>
                  <a:lnTo>
                    <a:pt x="1109" y="2054"/>
                  </a:lnTo>
                  <a:lnTo>
                    <a:pt x="1100" y="2025"/>
                  </a:lnTo>
                  <a:lnTo>
                    <a:pt x="1090" y="1987"/>
                  </a:lnTo>
                  <a:lnTo>
                    <a:pt x="1077" y="1942"/>
                  </a:lnTo>
                  <a:lnTo>
                    <a:pt x="1065" y="1897"/>
                  </a:lnTo>
                  <a:lnTo>
                    <a:pt x="1052" y="1851"/>
                  </a:lnTo>
                  <a:lnTo>
                    <a:pt x="1041" y="1811"/>
                  </a:lnTo>
                  <a:lnTo>
                    <a:pt x="1030" y="1776"/>
                  </a:lnTo>
                  <a:lnTo>
                    <a:pt x="1023" y="1756"/>
                  </a:lnTo>
                  <a:lnTo>
                    <a:pt x="1013" y="1728"/>
                  </a:lnTo>
                  <a:lnTo>
                    <a:pt x="999" y="1686"/>
                  </a:lnTo>
                  <a:lnTo>
                    <a:pt x="980" y="1631"/>
                  </a:lnTo>
                  <a:lnTo>
                    <a:pt x="961" y="1569"/>
                  </a:lnTo>
                  <a:lnTo>
                    <a:pt x="941" y="1501"/>
                  </a:lnTo>
                  <a:lnTo>
                    <a:pt x="922" y="1433"/>
                  </a:lnTo>
                  <a:lnTo>
                    <a:pt x="906" y="1368"/>
                  </a:lnTo>
                  <a:lnTo>
                    <a:pt x="896" y="1313"/>
                  </a:lnTo>
                  <a:lnTo>
                    <a:pt x="883" y="1249"/>
                  </a:lnTo>
                  <a:lnTo>
                    <a:pt x="871" y="1171"/>
                  </a:lnTo>
                  <a:lnTo>
                    <a:pt x="855" y="1080"/>
                  </a:lnTo>
                  <a:lnTo>
                    <a:pt x="842" y="988"/>
                  </a:lnTo>
                  <a:lnTo>
                    <a:pt x="829" y="895"/>
                  </a:lnTo>
                  <a:lnTo>
                    <a:pt x="819" y="811"/>
                  </a:lnTo>
                  <a:lnTo>
                    <a:pt x="812" y="740"/>
                  </a:lnTo>
                  <a:lnTo>
                    <a:pt x="810" y="691"/>
                  </a:lnTo>
                  <a:lnTo>
                    <a:pt x="809" y="648"/>
                  </a:lnTo>
                  <a:lnTo>
                    <a:pt x="808" y="601"/>
                  </a:lnTo>
                  <a:lnTo>
                    <a:pt x="805" y="549"/>
                  </a:lnTo>
                  <a:lnTo>
                    <a:pt x="802" y="499"/>
                  </a:lnTo>
                  <a:lnTo>
                    <a:pt x="799" y="447"/>
                  </a:lnTo>
                  <a:lnTo>
                    <a:pt x="799" y="399"/>
                  </a:lnTo>
                  <a:lnTo>
                    <a:pt x="799" y="354"/>
                  </a:lnTo>
                  <a:lnTo>
                    <a:pt x="802" y="317"/>
                  </a:lnTo>
                  <a:lnTo>
                    <a:pt x="803" y="272"/>
                  </a:lnTo>
                  <a:lnTo>
                    <a:pt x="805" y="220"/>
                  </a:lnTo>
                  <a:lnTo>
                    <a:pt x="805" y="160"/>
                  </a:lnTo>
                  <a:lnTo>
                    <a:pt x="803" y="104"/>
                  </a:lnTo>
                  <a:lnTo>
                    <a:pt x="797" y="53"/>
                  </a:lnTo>
                  <a:lnTo>
                    <a:pt x="792" y="17"/>
                  </a:lnTo>
                  <a:lnTo>
                    <a:pt x="780" y="0"/>
                  </a:lnTo>
                  <a:lnTo>
                    <a:pt x="767" y="10"/>
                  </a:lnTo>
                  <a:lnTo>
                    <a:pt x="748" y="35"/>
                  </a:lnTo>
                  <a:lnTo>
                    <a:pt x="727" y="68"/>
                  </a:lnTo>
                  <a:lnTo>
                    <a:pt x="705" y="104"/>
                  </a:lnTo>
                  <a:lnTo>
                    <a:pt x="683" y="142"/>
                  </a:lnTo>
                  <a:lnTo>
                    <a:pt x="661" y="175"/>
                  </a:lnTo>
                  <a:lnTo>
                    <a:pt x="645" y="204"/>
                  </a:lnTo>
                  <a:lnTo>
                    <a:pt x="634" y="224"/>
                  </a:lnTo>
                  <a:lnTo>
                    <a:pt x="631" y="231"/>
                  </a:lnTo>
                  <a:close/>
                </a:path>
              </a:pathLst>
            </a:custGeom>
            <a:solidFill>
              <a:srgbClr val="FFC2B5"/>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10" name="Freeform 13"/>
            <p:cNvSpPr>
              <a:spLocks/>
            </p:cNvSpPr>
            <p:nvPr/>
          </p:nvSpPr>
          <p:spPr bwMode="auto">
            <a:xfrm>
              <a:off x="2672" y="970"/>
              <a:ext cx="370" cy="799"/>
            </a:xfrm>
            <a:custGeom>
              <a:avLst/>
              <a:gdLst/>
              <a:ahLst/>
              <a:cxnLst>
                <a:cxn ang="0">
                  <a:pos x="515" y="473"/>
                </a:cxn>
                <a:cxn ang="0">
                  <a:pos x="450" y="665"/>
                </a:cxn>
                <a:cxn ang="0">
                  <a:pos x="407" y="894"/>
                </a:cxn>
                <a:cxn ang="0">
                  <a:pos x="366" y="1241"/>
                </a:cxn>
                <a:cxn ang="0">
                  <a:pos x="342" y="1533"/>
                </a:cxn>
                <a:cxn ang="0">
                  <a:pos x="255" y="1643"/>
                </a:cxn>
                <a:cxn ang="0">
                  <a:pos x="156" y="1731"/>
                </a:cxn>
                <a:cxn ang="0">
                  <a:pos x="87" y="1812"/>
                </a:cxn>
                <a:cxn ang="0">
                  <a:pos x="54" y="1902"/>
                </a:cxn>
                <a:cxn ang="0">
                  <a:pos x="10" y="2074"/>
                </a:cxn>
                <a:cxn ang="0">
                  <a:pos x="9" y="2198"/>
                </a:cxn>
                <a:cxn ang="0">
                  <a:pos x="49" y="2243"/>
                </a:cxn>
                <a:cxn ang="0">
                  <a:pos x="98" y="2286"/>
                </a:cxn>
                <a:cxn ang="0">
                  <a:pos x="153" y="2331"/>
                </a:cxn>
                <a:cxn ang="0">
                  <a:pos x="204" y="2360"/>
                </a:cxn>
                <a:cxn ang="0">
                  <a:pos x="268" y="2359"/>
                </a:cxn>
                <a:cxn ang="0">
                  <a:pos x="350" y="2333"/>
                </a:cxn>
                <a:cxn ang="0">
                  <a:pos x="410" y="2318"/>
                </a:cxn>
                <a:cxn ang="0">
                  <a:pos x="486" y="2336"/>
                </a:cxn>
                <a:cxn ang="0">
                  <a:pos x="604" y="2373"/>
                </a:cxn>
                <a:cxn ang="0">
                  <a:pos x="724" y="2396"/>
                </a:cxn>
                <a:cxn ang="0">
                  <a:pos x="795" y="2372"/>
                </a:cxn>
                <a:cxn ang="0">
                  <a:pos x="890" y="2325"/>
                </a:cxn>
                <a:cxn ang="0">
                  <a:pos x="984" y="2279"/>
                </a:cxn>
                <a:cxn ang="0">
                  <a:pos x="1042" y="2226"/>
                </a:cxn>
                <a:cxn ang="0">
                  <a:pos x="1094" y="2136"/>
                </a:cxn>
                <a:cxn ang="0">
                  <a:pos x="1109" y="2054"/>
                </a:cxn>
                <a:cxn ang="0">
                  <a:pos x="1077" y="1942"/>
                </a:cxn>
                <a:cxn ang="0">
                  <a:pos x="1041" y="1811"/>
                </a:cxn>
                <a:cxn ang="0">
                  <a:pos x="1013" y="1728"/>
                </a:cxn>
                <a:cxn ang="0">
                  <a:pos x="961" y="1569"/>
                </a:cxn>
                <a:cxn ang="0">
                  <a:pos x="906" y="1368"/>
                </a:cxn>
                <a:cxn ang="0">
                  <a:pos x="871" y="1171"/>
                </a:cxn>
                <a:cxn ang="0">
                  <a:pos x="829" y="895"/>
                </a:cxn>
                <a:cxn ang="0">
                  <a:pos x="810" y="691"/>
                </a:cxn>
                <a:cxn ang="0">
                  <a:pos x="805" y="549"/>
                </a:cxn>
                <a:cxn ang="0">
                  <a:pos x="799" y="399"/>
                </a:cxn>
                <a:cxn ang="0">
                  <a:pos x="803" y="272"/>
                </a:cxn>
                <a:cxn ang="0">
                  <a:pos x="803" y="104"/>
                </a:cxn>
                <a:cxn ang="0">
                  <a:pos x="780" y="0"/>
                </a:cxn>
                <a:cxn ang="0">
                  <a:pos x="727" y="71"/>
                </a:cxn>
                <a:cxn ang="0">
                  <a:pos x="663" y="183"/>
                </a:cxn>
                <a:cxn ang="0">
                  <a:pos x="632" y="244"/>
                </a:cxn>
              </a:cxnLst>
              <a:rect l="0" t="0" r="r" b="b"/>
              <a:pathLst>
                <a:path w="1110" h="2396">
                  <a:moveTo>
                    <a:pt x="632" y="244"/>
                  </a:moveTo>
                  <a:lnTo>
                    <a:pt x="563" y="374"/>
                  </a:lnTo>
                  <a:lnTo>
                    <a:pt x="515" y="473"/>
                  </a:lnTo>
                  <a:lnTo>
                    <a:pt x="483" y="548"/>
                  </a:lnTo>
                  <a:lnTo>
                    <a:pt x="465" y="610"/>
                  </a:lnTo>
                  <a:lnTo>
                    <a:pt x="450" y="665"/>
                  </a:lnTo>
                  <a:lnTo>
                    <a:pt x="440" y="726"/>
                  </a:lnTo>
                  <a:lnTo>
                    <a:pt x="426" y="798"/>
                  </a:lnTo>
                  <a:lnTo>
                    <a:pt x="407" y="894"/>
                  </a:lnTo>
                  <a:lnTo>
                    <a:pt x="385" y="1006"/>
                  </a:lnTo>
                  <a:lnTo>
                    <a:pt x="373" y="1124"/>
                  </a:lnTo>
                  <a:lnTo>
                    <a:pt x="366" y="1241"/>
                  </a:lnTo>
                  <a:lnTo>
                    <a:pt x="362" y="1352"/>
                  </a:lnTo>
                  <a:lnTo>
                    <a:pt x="353" y="1450"/>
                  </a:lnTo>
                  <a:lnTo>
                    <a:pt x="342" y="1533"/>
                  </a:lnTo>
                  <a:lnTo>
                    <a:pt x="320" y="1591"/>
                  </a:lnTo>
                  <a:lnTo>
                    <a:pt x="288" y="1621"/>
                  </a:lnTo>
                  <a:lnTo>
                    <a:pt x="255" y="1643"/>
                  </a:lnTo>
                  <a:lnTo>
                    <a:pt x="221" y="1669"/>
                  </a:lnTo>
                  <a:lnTo>
                    <a:pt x="187" y="1699"/>
                  </a:lnTo>
                  <a:lnTo>
                    <a:pt x="156" y="1731"/>
                  </a:lnTo>
                  <a:lnTo>
                    <a:pt x="127" y="1760"/>
                  </a:lnTo>
                  <a:lnTo>
                    <a:pt x="104" y="1787"/>
                  </a:lnTo>
                  <a:lnTo>
                    <a:pt x="87" y="1812"/>
                  </a:lnTo>
                  <a:lnTo>
                    <a:pt x="77" y="1832"/>
                  </a:lnTo>
                  <a:lnTo>
                    <a:pt x="67" y="1858"/>
                  </a:lnTo>
                  <a:lnTo>
                    <a:pt x="54" y="1902"/>
                  </a:lnTo>
                  <a:lnTo>
                    <a:pt x="38" y="1954"/>
                  </a:lnTo>
                  <a:lnTo>
                    <a:pt x="23" y="2015"/>
                  </a:lnTo>
                  <a:lnTo>
                    <a:pt x="10" y="2074"/>
                  </a:lnTo>
                  <a:lnTo>
                    <a:pt x="2" y="2127"/>
                  </a:lnTo>
                  <a:lnTo>
                    <a:pt x="0" y="2171"/>
                  </a:lnTo>
                  <a:lnTo>
                    <a:pt x="9" y="2198"/>
                  </a:lnTo>
                  <a:lnTo>
                    <a:pt x="22" y="2213"/>
                  </a:lnTo>
                  <a:lnTo>
                    <a:pt x="35" y="2229"/>
                  </a:lnTo>
                  <a:lnTo>
                    <a:pt x="49" y="2243"/>
                  </a:lnTo>
                  <a:lnTo>
                    <a:pt x="65" y="2257"/>
                  </a:lnTo>
                  <a:lnTo>
                    <a:pt x="81" y="2271"/>
                  </a:lnTo>
                  <a:lnTo>
                    <a:pt x="98" y="2286"/>
                  </a:lnTo>
                  <a:lnTo>
                    <a:pt x="116" y="2301"/>
                  </a:lnTo>
                  <a:lnTo>
                    <a:pt x="136" y="2318"/>
                  </a:lnTo>
                  <a:lnTo>
                    <a:pt x="153" y="2331"/>
                  </a:lnTo>
                  <a:lnTo>
                    <a:pt x="171" y="2343"/>
                  </a:lnTo>
                  <a:lnTo>
                    <a:pt x="187" y="2352"/>
                  </a:lnTo>
                  <a:lnTo>
                    <a:pt x="204" y="2360"/>
                  </a:lnTo>
                  <a:lnTo>
                    <a:pt x="221" y="2362"/>
                  </a:lnTo>
                  <a:lnTo>
                    <a:pt x="243" y="2362"/>
                  </a:lnTo>
                  <a:lnTo>
                    <a:pt x="268" y="2359"/>
                  </a:lnTo>
                  <a:lnTo>
                    <a:pt x="298" y="2352"/>
                  </a:lnTo>
                  <a:lnTo>
                    <a:pt x="326" y="2341"/>
                  </a:lnTo>
                  <a:lnTo>
                    <a:pt x="350" y="2333"/>
                  </a:lnTo>
                  <a:lnTo>
                    <a:pt x="372" y="2324"/>
                  </a:lnTo>
                  <a:lnTo>
                    <a:pt x="392" y="2321"/>
                  </a:lnTo>
                  <a:lnTo>
                    <a:pt x="410" y="2318"/>
                  </a:lnTo>
                  <a:lnTo>
                    <a:pt x="431" y="2320"/>
                  </a:lnTo>
                  <a:lnTo>
                    <a:pt x="456" y="2324"/>
                  </a:lnTo>
                  <a:lnTo>
                    <a:pt x="486" y="2336"/>
                  </a:lnTo>
                  <a:lnTo>
                    <a:pt x="520" y="2347"/>
                  </a:lnTo>
                  <a:lnTo>
                    <a:pt x="560" y="2362"/>
                  </a:lnTo>
                  <a:lnTo>
                    <a:pt x="604" y="2373"/>
                  </a:lnTo>
                  <a:lnTo>
                    <a:pt x="647" y="2385"/>
                  </a:lnTo>
                  <a:lnTo>
                    <a:pt x="687" y="2392"/>
                  </a:lnTo>
                  <a:lnTo>
                    <a:pt x="724" y="2396"/>
                  </a:lnTo>
                  <a:lnTo>
                    <a:pt x="754" y="2393"/>
                  </a:lnTo>
                  <a:lnTo>
                    <a:pt x="776" y="2386"/>
                  </a:lnTo>
                  <a:lnTo>
                    <a:pt x="795" y="2372"/>
                  </a:lnTo>
                  <a:lnTo>
                    <a:pt x="823" y="2357"/>
                  </a:lnTo>
                  <a:lnTo>
                    <a:pt x="855" y="2341"/>
                  </a:lnTo>
                  <a:lnTo>
                    <a:pt x="890" y="2325"/>
                  </a:lnTo>
                  <a:lnTo>
                    <a:pt x="923" y="2308"/>
                  </a:lnTo>
                  <a:lnTo>
                    <a:pt x="957" y="2294"/>
                  </a:lnTo>
                  <a:lnTo>
                    <a:pt x="984" y="2279"/>
                  </a:lnTo>
                  <a:lnTo>
                    <a:pt x="1006" y="2266"/>
                  </a:lnTo>
                  <a:lnTo>
                    <a:pt x="1022" y="2249"/>
                  </a:lnTo>
                  <a:lnTo>
                    <a:pt x="1042" y="2226"/>
                  </a:lnTo>
                  <a:lnTo>
                    <a:pt x="1061" y="2198"/>
                  </a:lnTo>
                  <a:lnTo>
                    <a:pt x="1080" y="2169"/>
                  </a:lnTo>
                  <a:lnTo>
                    <a:pt x="1094" y="2136"/>
                  </a:lnTo>
                  <a:lnTo>
                    <a:pt x="1104" y="2106"/>
                  </a:lnTo>
                  <a:lnTo>
                    <a:pt x="1110" y="2077"/>
                  </a:lnTo>
                  <a:lnTo>
                    <a:pt x="1109" y="2054"/>
                  </a:lnTo>
                  <a:lnTo>
                    <a:pt x="1100" y="2025"/>
                  </a:lnTo>
                  <a:lnTo>
                    <a:pt x="1090" y="1987"/>
                  </a:lnTo>
                  <a:lnTo>
                    <a:pt x="1077" y="1942"/>
                  </a:lnTo>
                  <a:lnTo>
                    <a:pt x="1065" y="1897"/>
                  </a:lnTo>
                  <a:lnTo>
                    <a:pt x="1052" y="1851"/>
                  </a:lnTo>
                  <a:lnTo>
                    <a:pt x="1041" y="1811"/>
                  </a:lnTo>
                  <a:lnTo>
                    <a:pt x="1030" y="1776"/>
                  </a:lnTo>
                  <a:lnTo>
                    <a:pt x="1023" y="1756"/>
                  </a:lnTo>
                  <a:lnTo>
                    <a:pt x="1013" y="1728"/>
                  </a:lnTo>
                  <a:lnTo>
                    <a:pt x="999" y="1686"/>
                  </a:lnTo>
                  <a:lnTo>
                    <a:pt x="980" y="1631"/>
                  </a:lnTo>
                  <a:lnTo>
                    <a:pt x="961" y="1569"/>
                  </a:lnTo>
                  <a:lnTo>
                    <a:pt x="941" y="1501"/>
                  </a:lnTo>
                  <a:lnTo>
                    <a:pt x="922" y="1433"/>
                  </a:lnTo>
                  <a:lnTo>
                    <a:pt x="906" y="1368"/>
                  </a:lnTo>
                  <a:lnTo>
                    <a:pt x="896" y="1313"/>
                  </a:lnTo>
                  <a:lnTo>
                    <a:pt x="883" y="1249"/>
                  </a:lnTo>
                  <a:lnTo>
                    <a:pt x="871" y="1171"/>
                  </a:lnTo>
                  <a:lnTo>
                    <a:pt x="855" y="1080"/>
                  </a:lnTo>
                  <a:lnTo>
                    <a:pt x="842" y="988"/>
                  </a:lnTo>
                  <a:lnTo>
                    <a:pt x="829" y="895"/>
                  </a:lnTo>
                  <a:lnTo>
                    <a:pt x="819" y="811"/>
                  </a:lnTo>
                  <a:lnTo>
                    <a:pt x="812" y="740"/>
                  </a:lnTo>
                  <a:lnTo>
                    <a:pt x="810" y="691"/>
                  </a:lnTo>
                  <a:lnTo>
                    <a:pt x="809" y="648"/>
                  </a:lnTo>
                  <a:lnTo>
                    <a:pt x="808" y="601"/>
                  </a:lnTo>
                  <a:lnTo>
                    <a:pt x="805" y="549"/>
                  </a:lnTo>
                  <a:lnTo>
                    <a:pt x="802" y="499"/>
                  </a:lnTo>
                  <a:lnTo>
                    <a:pt x="799" y="447"/>
                  </a:lnTo>
                  <a:lnTo>
                    <a:pt x="799" y="399"/>
                  </a:lnTo>
                  <a:lnTo>
                    <a:pt x="799" y="354"/>
                  </a:lnTo>
                  <a:lnTo>
                    <a:pt x="802" y="317"/>
                  </a:lnTo>
                  <a:lnTo>
                    <a:pt x="803" y="272"/>
                  </a:lnTo>
                  <a:lnTo>
                    <a:pt x="805" y="220"/>
                  </a:lnTo>
                  <a:lnTo>
                    <a:pt x="805" y="160"/>
                  </a:lnTo>
                  <a:lnTo>
                    <a:pt x="803" y="104"/>
                  </a:lnTo>
                  <a:lnTo>
                    <a:pt x="797" y="53"/>
                  </a:lnTo>
                  <a:lnTo>
                    <a:pt x="792" y="17"/>
                  </a:lnTo>
                  <a:lnTo>
                    <a:pt x="780" y="0"/>
                  </a:lnTo>
                  <a:lnTo>
                    <a:pt x="767" y="10"/>
                  </a:lnTo>
                  <a:lnTo>
                    <a:pt x="748" y="36"/>
                  </a:lnTo>
                  <a:lnTo>
                    <a:pt x="727" y="71"/>
                  </a:lnTo>
                  <a:lnTo>
                    <a:pt x="705" y="108"/>
                  </a:lnTo>
                  <a:lnTo>
                    <a:pt x="683" y="149"/>
                  </a:lnTo>
                  <a:lnTo>
                    <a:pt x="663" y="183"/>
                  </a:lnTo>
                  <a:lnTo>
                    <a:pt x="647" y="215"/>
                  </a:lnTo>
                  <a:lnTo>
                    <a:pt x="635" y="236"/>
                  </a:lnTo>
                  <a:lnTo>
                    <a:pt x="632" y="244"/>
                  </a:lnTo>
                  <a:close/>
                </a:path>
              </a:pathLst>
            </a:custGeom>
            <a:solidFill>
              <a:srgbClr val="FFC4B7"/>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58" name="Freeform 14"/>
            <p:cNvSpPr>
              <a:spLocks/>
            </p:cNvSpPr>
            <p:nvPr/>
          </p:nvSpPr>
          <p:spPr bwMode="auto">
            <a:xfrm>
              <a:off x="2672" y="970"/>
              <a:ext cx="370" cy="799"/>
            </a:xfrm>
            <a:custGeom>
              <a:avLst/>
              <a:gdLst/>
              <a:ahLst/>
              <a:cxnLst>
                <a:cxn ang="0">
                  <a:pos x="520" y="484"/>
                </a:cxn>
                <a:cxn ang="0">
                  <a:pos x="460" y="680"/>
                </a:cxn>
                <a:cxn ang="0">
                  <a:pos x="421" y="910"/>
                </a:cxn>
                <a:cxn ang="0">
                  <a:pos x="386" y="1270"/>
                </a:cxn>
                <a:cxn ang="0">
                  <a:pos x="365" y="1569"/>
                </a:cxn>
                <a:cxn ang="0">
                  <a:pos x="269" y="1653"/>
                </a:cxn>
                <a:cxn ang="0">
                  <a:pos x="165" y="1731"/>
                </a:cxn>
                <a:cxn ang="0">
                  <a:pos x="87" y="1812"/>
                </a:cxn>
                <a:cxn ang="0">
                  <a:pos x="54" y="1902"/>
                </a:cxn>
                <a:cxn ang="0">
                  <a:pos x="10" y="2074"/>
                </a:cxn>
                <a:cxn ang="0">
                  <a:pos x="9" y="2198"/>
                </a:cxn>
                <a:cxn ang="0">
                  <a:pos x="49" y="2243"/>
                </a:cxn>
                <a:cxn ang="0">
                  <a:pos x="98" y="2286"/>
                </a:cxn>
                <a:cxn ang="0">
                  <a:pos x="153" y="2331"/>
                </a:cxn>
                <a:cxn ang="0">
                  <a:pos x="204" y="2360"/>
                </a:cxn>
                <a:cxn ang="0">
                  <a:pos x="268" y="2359"/>
                </a:cxn>
                <a:cxn ang="0">
                  <a:pos x="350" y="2333"/>
                </a:cxn>
                <a:cxn ang="0">
                  <a:pos x="410" y="2318"/>
                </a:cxn>
                <a:cxn ang="0">
                  <a:pos x="486" y="2336"/>
                </a:cxn>
                <a:cxn ang="0">
                  <a:pos x="604" y="2373"/>
                </a:cxn>
                <a:cxn ang="0">
                  <a:pos x="724" y="2396"/>
                </a:cxn>
                <a:cxn ang="0">
                  <a:pos x="795" y="2372"/>
                </a:cxn>
                <a:cxn ang="0">
                  <a:pos x="890" y="2325"/>
                </a:cxn>
                <a:cxn ang="0">
                  <a:pos x="984" y="2279"/>
                </a:cxn>
                <a:cxn ang="0">
                  <a:pos x="1042" y="2226"/>
                </a:cxn>
                <a:cxn ang="0">
                  <a:pos x="1094" y="2136"/>
                </a:cxn>
                <a:cxn ang="0">
                  <a:pos x="1109" y="2054"/>
                </a:cxn>
                <a:cxn ang="0">
                  <a:pos x="1077" y="1942"/>
                </a:cxn>
                <a:cxn ang="0">
                  <a:pos x="1041" y="1811"/>
                </a:cxn>
                <a:cxn ang="0">
                  <a:pos x="1013" y="1728"/>
                </a:cxn>
                <a:cxn ang="0">
                  <a:pos x="961" y="1569"/>
                </a:cxn>
                <a:cxn ang="0">
                  <a:pos x="906" y="1368"/>
                </a:cxn>
                <a:cxn ang="0">
                  <a:pos x="871" y="1171"/>
                </a:cxn>
                <a:cxn ang="0">
                  <a:pos x="829" y="895"/>
                </a:cxn>
                <a:cxn ang="0">
                  <a:pos x="810" y="691"/>
                </a:cxn>
                <a:cxn ang="0">
                  <a:pos x="805" y="549"/>
                </a:cxn>
                <a:cxn ang="0">
                  <a:pos x="799" y="399"/>
                </a:cxn>
                <a:cxn ang="0">
                  <a:pos x="803" y="272"/>
                </a:cxn>
                <a:cxn ang="0">
                  <a:pos x="803" y="104"/>
                </a:cxn>
                <a:cxn ang="0">
                  <a:pos x="780" y="0"/>
                </a:cxn>
                <a:cxn ang="0">
                  <a:pos x="728" y="72"/>
                </a:cxn>
                <a:cxn ang="0">
                  <a:pos x="664" y="192"/>
                </a:cxn>
                <a:cxn ang="0">
                  <a:pos x="635" y="256"/>
                </a:cxn>
              </a:cxnLst>
              <a:rect l="0" t="0" r="r" b="b"/>
              <a:pathLst>
                <a:path w="1110" h="2396">
                  <a:moveTo>
                    <a:pt x="635" y="256"/>
                  </a:moveTo>
                  <a:lnTo>
                    <a:pt x="566" y="386"/>
                  </a:lnTo>
                  <a:lnTo>
                    <a:pt x="520" y="484"/>
                  </a:lnTo>
                  <a:lnTo>
                    <a:pt x="489" y="560"/>
                  </a:lnTo>
                  <a:lnTo>
                    <a:pt x="473" y="623"/>
                  </a:lnTo>
                  <a:lnTo>
                    <a:pt x="460" y="680"/>
                  </a:lnTo>
                  <a:lnTo>
                    <a:pt x="452" y="740"/>
                  </a:lnTo>
                  <a:lnTo>
                    <a:pt x="440" y="814"/>
                  </a:lnTo>
                  <a:lnTo>
                    <a:pt x="421" y="910"/>
                  </a:lnTo>
                  <a:lnTo>
                    <a:pt x="401" y="1024"/>
                  </a:lnTo>
                  <a:lnTo>
                    <a:pt x="391" y="1147"/>
                  </a:lnTo>
                  <a:lnTo>
                    <a:pt x="386" y="1270"/>
                  </a:lnTo>
                  <a:lnTo>
                    <a:pt x="384" y="1387"/>
                  </a:lnTo>
                  <a:lnTo>
                    <a:pt x="376" y="1488"/>
                  </a:lnTo>
                  <a:lnTo>
                    <a:pt x="365" y="1569"/>
                  </a:lnTo>
                  <a:lnTo>
                    <a:pt x="342" y="1621"/>
                  </a:lnTo>
                  <a:lnTo>
                    <a:pt x="304" y="1638"/>
                  </a:lnTo>
                  <a:lnTo>
                    <a:pt x="269" y="1653"/>
                  </a:lnTo>
                  <a:lnTo>
                    <a:pt x="234" y="1676"/>
                  </a:lnTo>
                  <a:lnTo>
                    <a:pt x="198" y="1701"/>
                  </a:lnTo>
                  <a:lnTo>
                    <a:pt x="165" y="1731"/>
                  </a:lnTo>
                  <a:lnTo>
                    <a:pt x="132" y="1759"/>
                  </a:lnTo>
                  <a:lnTo>
                    <a:pt x="107" y="1787"/>
                  </a:lnTo>
                  <a:lnTo>
                    <a:pt x="87" y="1812"/>
                  </a:lnTo>
                  <a:lnTo>
                    <a:pt x="77" y="1832"/>
                  </a:lnTo>
                  <a:lnTo>
                    <a:pt x="67" y="1858"/>
                  </a:lnTo>
                  <a:lnTo>
                    <a:pt x="54" y="1902"/>
                  </a:lnTo>
                  <a:lnTo>
                    <a:pt x="38" y="1954"/>
                  </a:lnTo>
                  <a:lnTo>
                    <a:pt x="23" y="2015"/>
                  </a:lnTo>
                  <a:lnTo>
                    <a:pt x="10" y="2074"/>
                  </a:lnTo>
                  <a:lnTo>
                    <a:pt x="2" y="2127"/>
                  </a:lnTo>
                  <a:lnTo>
                    <a:pt x="0" y="2171"/>
                  </a:lnTo>
                  <a:lnTo>
                    <a:pt x="9" y="2198"/>
                  </a:lnTo>
                  <a:lnTo>
                    <a:pt x="22" y="2213"/>
                  </a:lnTo>
                  <a:lnTo>
                    <a:pt x="35" y="2229"/>
                  </a:lnTo>
                  <a:lnTo>
                    <a:pt x="49" y="2243"/>
                  </a:lnTo>
                  <a:lnTo>
                    <a:pt x="65" y="2257"/>
                  </a:lnTo>
                  <a:lnTo>
                    <a:pt x="81" y="2271"/>
                  </a:lnTo>
                  <a:lnTo>
                    <a:pt x="98" y="2286"/>
                  </a:lnTo>
                  <a:lnTo>
                    <a:pt x="116" y="2301"/>
                  </a:lnTo>
                  <a:lnTo>
                    <a:pt x="136" y="2318"/>
                  </a:lnTo>
                  <a:lnTo>
                    <a:pt x="153" y="2331"/>
                  </a:lnTo>
                  <a:lnTo>
                    <a:pt x="171" y="2343"/>
                  </a:lnTo>
                  <a:lnTo>
                    <a:pt x="187" y="2352"/>
                  </a:lnTo>
                  <a:lnTo>
                    <a:pt x="204" y="2360"/>
                  </a:lnTo>
                  <a:lnTo>
                    <a:pt x="221" y="2362"/>
                  </a:lnTo>
                  <a:lnTo>
                    <a:pt x="243" y="2362"/>
                  </a:lnTo>
                  <a:lnTo>
                    <a:pt x="268" y="2359"/>
                  </a:lnTo>
                  <a:lnTo>
                    <a:pt x="298" y="2352"/>
                  </a:lnTo>
                  <a:lnTo>
                    <a:pt x="326" y="2341"/>
                  </a:lnTo>
                  <a:lnTo>
                    <a:pt x="350" y="2333"/>
                  </a:lnTo>
                  <a:lnTo>
                    <a:pt x="372" y="2324"/>
                  </a:lnTo>
                  <a:lnTo>
                    <a:pt x="392" y="2321"/>
                  </a:lnTo>
                  <a:lnTo>
                    <a:pt x="410" y="2318"/>
                  </a:lnTo>
                  <a:lnTo>
                    <a:pt x="431" y="2320"/>
                  </a:lnTo>
                  <a:lnTo>
                    <a:pt x="456" y="2324"/>
                  </a:lnTo>
                  <a:lnTo>
                    <a:pt x="486" y="2336"/>
                  </a:lnTo>
                  <a:lnTo>
                    <a:pt x="520" y="2347"/>
                  </a:lnTo>
                  <a:lnTo>
                    <a:pt x="560" y="2362"/>
                  </a:lnTo>
                  <a:lnTo>
                    <a:pt x="604" y="2373"/>
                  </a:lnTo>
                  <a:lnTo>
                    <a:pt x="647" y="2385"/>
                  </a:lnTo>
                  <a:lnTo>
                    <a:pt x="687" y="2392"/>
                  </a:lnTo>
                  <a:lnTo>
                    <a:pt x="724" y="2396"/>
                  </a:lnTo>
                  <a:lnTo>
                    <a:pt x="754" y="2393"/>
                  </a:lnTo>
                  <a:lnTo>
                    <a:pt x="776" y="2386"/>
                  </a:lnTo>
                  <a:lnTo>
                    <a:pt x="795" y="2372"/>
                  </a:lnTo>
                  <a:lnTo>
                    <a:pt x="823" y="2357"/>
                  </a:lnTo>
                  <a:lnTo>
                    <a:pt x="855" y="2341"/>
                  </a:lnTo>
                  <a:lnTo>
                    <a:pt x="890" y="2325"/>
                  </a:lnTo>
                  <a:lnTo>
                    <a:pt x="923" y="2308"/>
                  </a:lnTo>
                  <a:lnTo>
                    <a:pt x="957" y="2294"/>
                  </a:lnTo>
                  <a:lnTo>
                    <a:pt x="984" y="2279"/>
                  </a:lnTo>
                  <a:lnTo>
                    <a:pt x="1006" y="2266"/>
                  </a:lnTo>
                  <a:lnTo>
                    <a:pt x="1022" y="2249"/>
                  </a:lnTo>
                  <a:lnTo>
                    <a:pt x="1042" y="2226"/>
                  </a:lnTo>
                  <a:lnTo>
                    <a:pt x="1061" y="2198"/>
                  </a:lnTo>
                  <a:lnTo>
                    <a:pt x="1080" y="2169"/>
                  </a:lnTo>
                  <a:lnTo>
                    <a:pt x="1094" y="2136"/>
                  </a:lnTo>
                  <a:lnTo>
                    <a:pt x="1104" y="2106"/>
                  </a:lnTo>
                  <a:lnTo>
                    <a:pt x="1110" y="2077"/>
                  </a:lnTo>
                  <a:lnTo>
                    <a:pt x="1109" y="2054"/>
                  </a:lnTo>
                  <a:lnTo>
                    <a:pt x="1100" y="2025"/>
                  </a:lnTo>
                  <a:lnTo>
                    <a:pt x="1090" y="1987"/>
                  </a:lnTo>
                  <a:lnTo>
                    <a:pt x="1077" y="1942"/>
                  </a:lnTo>
                  <a:lnTo>
                    <a:pt x="1065" y="1897"/>
                  </a:lnTo>
                  <a:lnTo>
                    <a:pt x="1052" y="1851"/>
                  </a:lnTo>
                  <a:lnTo>
                    <a:pt x="1041" y="1811"/>
                  </a:lnTo>
                  <a:lnTo>
                    <a:pt x="1030" y="1776"/>
                  </a:lnTo>
                  <a:lnTo>
                    <a:pt x="1023" y="1756"/>
                  </a:lnTo>
                  <a:lnTo>
                    <a:pt x="1013" y="1728"/>
                  </a:lnTo>
                  <a:lnTo>
                    <a:pt x="999" y="1686"/>
                  </a:lnTo>
                  <a:lnTo>
                    <a:pt x="980" y="1631"/>
                  </a:lnTo>
                  <a:lnTo>
                    <a:pt x="961" y="1569"/>
                  </a:lnTo>
                  <a:lnTo>
                    <a:pt x="941" y="1501"/>
                  </a:lnTo>
                  <a:lnTo>
                    <a:pt x="922" y="1433"/>
                  </a:lnTo>
                  <a:lnTo>
                    <a:pt x="906" y="1368"/>
                  </a:lnTo>
                  <a:lnTo>
                    <a:pt x="896" y="1313"/>
                  </a:lnTo>
                  <a:lnTo>
                    <a:pt x="883" y="1249"/>
                  </a:lnTo>
                  <a:lnTo>
                    <a:pt x="871" y="1171"/>
                  </a:lnTo>
                  <a:lnTo>
                    <a:pt x="855" y="1080"/>
                  </a:lnTo>
                  <a:lnTo>
                    <a:pt x="842" y="988"/>
                  </a:lnTo>
                  <a:lnTo>
                    <a:pt x="829" y="895"/>
                  </a:lnTo>
                  <a:lnTo>
                    <a:pt x="819" y="811"/>
                  </a:lnTo>
                  <a:lnTo>
                    <a:pt x="812" y="740"/>
                  </a:lnTo>
                  <a:lnTo>
                    <a:pt x="810" y="691"/>
                  </a:lnTo>
                  <a:lnTo>
                    <a:pt x="809" y="648"/>
                  </a:lnTo>
                  <a:lnTo>
                    <a:pt x="808" y="601"/>
                  </a:lnTo>
                  <a:lnTo>
                    <a:pt x="805" y="549"/>
                  </a:lnTo>
                  <a:lnTo>
                    <a:pt x="802" y="499"/>
                  </a:lnTo>
                  <a:lnTo>
                    <a:pt x="799" y="447"/>
                  </a:lnTo>
                  <a:lnTo>
                    <a:pt x="799" y="399"/>
                  </a:lnTo>
                  <a:lnTo>
                    <a:pt x="799" y="354"/>
                  </a:lnTo>
                  <a:lnTo>
                    <a:pt x="802" y="317"/>
                  </a:lnTo>
                  <a:lnTo>
                    <a:pt x="803" y="272"/>
                  </a:lnTo>
                  <a:lnTo>
                    <a:pt x="805" y="220"/>
                  </a:lnTo>
                  <a:lnTo>
                    <a:pt x="805" y="160"/>
                  </a:lnTo>
                  <a:lnTo>
                    <a:pt x="803" y="104"/>
                  </a:lnTo>
                  <a:lnTo>
                    <a:pt x="797" y="53"/>
                  </a:lnTo>
                  <a:lnTo>
                    <a:pt x="792" y="17"/>
                  </a:lnTo>
                  <a:lnTo>
                    <a:pt x="780" y="0"/>
                  </a:lnTo>
                  <a:lnTo>
                    <a:pt x="767" y="10"/>
                  </a:lnTo>
                  <a:lnTo>
                    <a:pt x="748" y="36"/>
                  </a:lnTo>
                  <a:lnTo>
                    <a:pt x="728" y="72"/>
                  </a:lnTo>
                  <a:lnTo>
                    <a:pt x="705" y="113"/>
                  </a:lnTo>
                  <a:lnTo>
                    <a:pt x="685" y="155"/>
                  </a:lnTo>
                  <a:lnTo>
                    <a:pt x="664" y="192"/>
                  </a:lnTo>
                  <a:lnTo>
                    <a:pt x="648" y="224"/>
                  </a:lnTo>
                  <a:lnTo>
                    <a:pt x="638" y="246"/>
                  </a:lnTo>
                  <a:lnTo>
                    <a:pt x="635" y="256"/>
                  </a:lnTo>
                  <a:close/>
                </a:path>
              </a:pathLst>
            </a:custGeom>
            <a:solidFill>
              <a:srgbClr val="FFC5B9"/>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59" name="Freeform 15"/>
            <p:cNvSpPr>
              <a:spLocks/>
            </p:cNvSpPr>
            <p:nvPr/>
          </p:nvSpPr>
          <p:spPr bwMode="auto">
            <a:xfrm>
              <a:off x="2672" y="970"/>
              <a:ext cx="370" cy="799"/>
            </a:xfrm>
            <a:custGeom>
              <a:avLst/>
              <a:gdLst/>
              <a:ahLst/>
              <a:cxnLst>
                <a:cxn ang="0">
                  <a:pos x="524" y="499"/>
                </a:cxn>
                <a:cxn ang="0">
                  <a:pos x="473" y="694"/>
                </a:cxn>
                <a:cxn ang="0">
                  <a:pos x="436" y="925"/>
                </a:cxn>
                <a:cxn ang="0">
                  <a:pos x="407" y="1297"/>
                </a:cxn>
                <a:cxn ang="0">
                  <a:pos x="389" y="1607"/>
                </a:cxn>
                <a:cxn ang="0">
                  <a:pos x="285" y="1665"/>
                </a:cxn>
                <a:cxn ang="0">
                  <a:pos x="172" y="1731"/>
                </a:cxn>
                <a:cxn ang="0">
                  <a:pos x="88" y="1812"/>
                </a:cxn>
                <a:cxn ang="0">
                  <a:pos x="54" y="1902"/>
                </a:cxn>
                <a:cxn ang="0">
                  <a:pos x="10" y="2074"/>
                </a:cxn>
                <a:cxn ang="0">
                  <a:pos x="9" y="2198"/>
                </a:cxn>
                <a:cxn ang="0">
                  <a:pos x="49" y="2243"/>
                </a:cxn>
                <a:cxn ang="0">
                  <a:pos x="98" y="2286"/>
                </a:cxn>
                <a:cxn ang="0">
                  <a:pos x="153" y="2331"/>
                </a:cxn>
                <a:cxn ang="0">
                  <a:pos x="204" y="2360"/>
                </a:cxn>
                <a:cxn ang="0">
                  <a:pos x="268" y="2359"/>
                </a:cxn>
                <a:cxn ang="0">
                  <a:pos x="350" y="2333"/>
                </a:cxn>
                <a:cxn ang="0">
                  <a:pos x="410" y="2318"/>
                </a:cxn>
                <a:cxn ang="0">
                  <a:pos x="486" y="2336"/>
                </a:cxn>
                <a:cxn ang="0">
                  <a:pos x="604" y="2373"/>
                </a:cxn>
                <a:cxn ang="0">
                  <a:pos x="724" y="2396"/>
                </a:cxn>
                <a:cxn ang="0">
                  <a:pos x="795" y="2372"/>
                </a:cxn>
                <a:cxn ang="0">
                  <a:pos x="890" y="2325"/>
                </a:cxn>
                <a:cxn ang="0">
                  <a:pos x="984" y="2279"/>
                </a:cxn>
                <a:cxn ang="0">
                  <a:pos x="1042" y="2226"/>
                </a:cxn>
                <a:cxn ang="0">
                  <a:pos x="1094" y="2136"/>
                </a:cxn>
                <a:cxn ang="0">
                  <a:pos x="1109" y="2054"/>
                </a:cxn>
                <a:cxn ang="0">
                  <a:pos x="1077" y="1942"/>
                </a:cxn>
                <a:cxn ang="0">
                  <a:pos x="1041" y="1811"/>
                </a:cxn>
                <a:cxn ang="0">
                  <a:pos x="1013" y="1728"/>
                </a:cxn>
                <a:cxn ang="0">
                  <a:pos x="961" y="1569"/>
                </a:cxn>
                <a:cxn ang="0">
                  <a:pos x="906" y="1368"/>
                </a:cxn>
                <a:cxn ang="0">
                  <a:pos x="871" y="1171"/>
                </a:cxn>
                <a:cxn ang="0">
                  <a:pos x="829" y="895"/>
                </a:cxn>
                <a:cxn ang="0">
                  <a:pos x="810" y="691"/>
                </a:cxn>
                <a:cxn ang="0">
                  <a:pos x="805" y="549"/>
                </a:cxn>
                <a:cxn ang="0">
                  <a:pos x="799" y="399"/>
                </a:cxn>
                <a:cxn ang="0">
                  <a:pos x="803" y="272"/>
                </a:cxn>
                <a:cxn ang="0">
                  <a:pos x="803" y="104"/>
                </a:cxn>
                <a:cxn ang="0">
                  <a:pos x="780" y="0"/>
                </a:cxn>
                <a:cxn ang="0">
                  <a:pos x="728" y="74"/>
                </a:cxn>
                <a:cxn ang="0">
                  <a:pos x="666" y="201"/>
                </a:cxn>
                <a:cxn ang="0">
                  <a:pos x="637" y="269"/>
                </a:cxn>
              </a:cxnLst>
              <a:rect l="0" t="0" r="r" b="b"/>
              <a:pathLst>
                <a:path w="1110" h="2396">
                  <a:moveTo>
                    <a:pt x="637" y="269"/>
                  </a:moveTo>
                  <a:lnTo>
                    <a:pt x="569" y="399"/>
                  </a:lnTo>
                  <a:lnTo>
                    <a:pt x="524" y="499"/>
                  </a:lnTo>
                  <a:lnTo>
                    <a:pt x="496" y="574"/>
                  </a:lnTo>
                  <a:lnTo>
                    <a:pt x="482" y="638"/>
                  </a:lnTo>
                  <a:lnTo>
                    <a:pt x="473" y="694"/>
                  </a:lnTo>
                  <a:lnTo>
                    <a:pt x="466" y="755"/>
                  </a:lnTo>
                  <a:lnTo>
                    <a:pt x="454" y="829"/>
                  </a:lnTo>
                  <a:lnTo>
                    <a:pt x="436" y="925"/>
                  </a:lnTo>
                  <a:lnTo>
                    <a:pt x="415" y="1041"/>
                  </a:lnTo>
                  <a:lnTo>
                    <a:pt x="408" y="1168"/>
                  </a:lnTo>
                  <a:lnTo>
                    <a:pt x="407" y="1297"/>
                  </a:lnTo>
                  <a:lnTo>
                    <a:pt x="407" y="1422"/>
                  </a:lnTo>
                  <a:lnTo>
                    <a:pt x="402" y="1526"/>
                  </a:lnTo>
                  <a:lnTo>
                    <a:pt x="389" y="1607"/>
                  </a:lnTo>
                  <a:lnTo>
                    <a:pt x="363" y="1653"/>
                  </a:lnTo>
                  <a:lnTo>
                    <a:pt x="320" y="1657"/>
                  </a:lnTo>
                  <a:lnTo>
                    <a:pt x="285" y="1665"/>
                  </a:lnTo>
                  <a:lnTo>
                    <a:pt x="248" y="1682"/>
                  </a:lnTo>
                  <a:lnTo>
                    <a:pt x="210" y="1704"/>
                  </a:lnTo>
                  <a:lnTo>
                    <a:pt x="172" y="1731"/>
                  </a:lnTo>
                  <a:lnTo>
                    <a:pt x="138" y="1759"/>
                  </a:lnTo>
                  <a:lnTo>
                    <a:pt x="109" y="1787"/>
                  </a:lnTo>
                  <a:lnTo>
                    <a:pt x="88" y="1812"/>
                  </a:lnTo>
                  <a:lnTo>
                    <a:pt x="77" y="1832"/>
                  </a:lnTo>
                  <a:lnTo>
                    <a:pt x="67" y="1858"/>
                  </a:lnTo>
                  <a:lnTo>
                    <a:pt x="54" y="1902"/>
                  </a:lnTo>
                  <a:lnTo>
                    <a:pt x="38" y="1954"/>
                  </a:lnTo>
                  <a:lnTo>
                    <a:pt x="23" y="2015"/>
                  </a:lnTo>
                  <a:lnTo>
                    <a:pt x="10" y="2074"/>
                  </a:lnTo>
                  <a:lnTo>
                    <a:pt x="2" y="2127"/>
                  </a:lnTo>
                  <a:lnTo>
                    <a:pt x="0" y="2171"/>
                  </a:lnTo>
                  <a:lnTo>
                    <a:pt x="9" y="2198"/>
                  </a:lnTo>
                  <a:lnTo>
                    <a:pt x="22" y="2213"/>
                  </a:lnTo>
                  <a:lnTo>
                    <a:pt x="35" y="2229"/>
                  </a:lnTo>
                  <a:lnTo>
                    <a:pt x="49" y="2243"/>
                  </a:lnTo>
                  <a:lnTo>
                    <a:pt x="65" y="2257"/>
                  </a:lnTo>
                  <a:lnTo>
                    <a:pt x="81" y="2271"/>
                  </a:lnTo>
                  <a:lnTo>
                    <a:pt x="98" y="2286"/>
                  </a:lnTo>
                  <a:lnTo>
                    <a:pt x="116" y="2301"/>
                  </a:lnTo>
                  <a:lnTo>
                    <a:pt x="136" y="2318"/>
                  </a:lnTo>
                  <a:lnTo>
                    <a:pt x="153" y="2331"/>
                  </a:lnTo>
                  <a:lnTo>
                    <a:pt x="171" y="2343"/>
                  </a:lnTo>
                  <a:lnTo>
                    <a:pt x="187" y="2352"/>
                  </a:lnTo>
                  <a:lnTo>
                    <a:pt x="204" y="2360"/>
                  </a:lnTo>
                  <a:lnTo>
                    <a:pt x="221" y="2362"/>
                  </a:lnTo>
                  <a:lnTo>
                    <a:pt x="243" y="2362"/>
                  </a:lnTo>
                  <a:lnTo>
                    <a:pt x="268" y="2359"/>
                  </a:lnTo>
                  <a:lnTo>
                    <a:pt x="298" y="2352"/>
                  </a:lnTo>
                  <a:lnTo>
                    <a:pt x="326" y="2341"/>
                  </a:lnTo>
                  <a:lnTo>
                    <a:pt x="350" y="2333"/>
                  </a:lnTo>
                  <a:lnTo>
                    <a:pt x="372" y="2324"/>
                  </a:lnTo>
                  <a:lnTo>
                    <a:pt x="392" y="2321"/>
                  </a:lnTo>
                  <a:lnTo>
                    <a:pt x="410" y="2318"/>
                  </a:lnTo>
                  <a:lnTo>
                    <a:pt x="431" y="2320"/>
                  </a:lnTo>
                  <a:lnTo>
                    <a:pt x="456" y="2324"/>
                  </a:lnTo>
                  <a:lnTo>
                    <a:pt x="486" y="2336"/>
                  </a:lnTo>
                  <a:lnTo>
                    <a:pt x="520" y="2347"/>
                  </a:lnTo>
                  <a:lnTo>
                    <a:pt x="560" y="2362"/>
                  </a:lnTo>
                  <a:lnTo>
                    <a:pt x="604" y="2373"/>
                  </a:lnTo>
                  <a:lnTo>
                    <a:pt x="647" y="2385"/>
                  </a:lnTo>
                  <a:lnTo>
                    <a:pt x="687" y="2392"/>
                  </a:lnTo>
                  <a:lnTo>
                    <a:pt x="724" y="2396"/>
                  </a:lnTo>
                  <a:lnTo>
                    <a:pt x="754" y="2393"/>
                  </a:lnTo>
                  <a:lnTo>
                    <a:pt x="776" y="2386"/>
                  </a:lnTo>
                  <a:lnTo>
                    <a:pt x="795" y="2372"/>
                  </a:lnTo>
                  <a:lnTo>
                    <a:pt x="823" y="2357"/>
                  </a:lnTo>
                  <a:lnTo>
                    <a:pt x="855" y="2341"/>
                  </a:lnTo>
                  <a:lnTo>
                    <a:pt x="890" y="2325"/>
                  </a:lnTo>
                  <a:lnTo>
                    <a:pt x="923" y="2308"/>
                  </a:lnTo>
                  <a:lnTo>
                    <a:pt x="957" y="2294"/>
                  </a:lnTo>
                  <a:lnTo>
                    <a:pt x="984" y="2279"/>
                  </a:lnTo>
                  <a:lnTo>
                    <a:pt x="1006" y="2266"/>
                  </a:lnTo>
                  <a:lnTo>
                    <a:pt x="1022" y="2249"/>
                  </a:lnTo>
                  <a:lnTo>
                    <a:pt x="1042" y="2226"/>
                  </a:lnTo>
                  <a:lnTo>
                    <a:pt x="1061" y="2198"/>
                  </a:lnTo>
                  <a:lnTo>
                    <a:pt x="1080" y="2169"/>
                  </a:lnTo>
                  <a:lnTo>
                    <a:pt x="1094" y="2136"/>
                  </a:lnTo>
                  <a:lnTo>
                    <a:pt x="1104" y="2106"/>
                  </a:lnTo>
                  <a:lnTo>
                    <a:pt x="1110" y="2077"/>
                  </a:lnTo>
                  <a:lnTo>
                    <a:pt x="1109" y="2054"/>
                  </a:lnTo>
                  <a:lnTo>
                    <a:pt x="1100" y="2025"/>
                  </a:lnTo>
                  <a:lnTo>
                    <a:pt x="1090" y="1987"/>
                  </a:lnTo>
                  <a:lnTo>
                    <a:pt x="1077" y="1942"/>
                  </a:lnTo>
                  <a:lnTo>
                    <a:pt x="1065" y="1897"/>
                  </a:lnTo>
                  <a:lnTo>
                    <a:pt x="1052" y="1851"/>
                  </a:lnTo>
                  <a:lnTo>
                    <a:pt x="1041" y="1811"/>
                  </a:lnTo>
                  <a:lnTo>
                    <a:pt x="1030" y="1776"/>
                  </a:lnTo>
                  <a:lnTo>
                    <a:pt x="1023" y="1756"/>
                  </a:lnTo>
                  <a:lnTo>
                    <a:pt x="1013" y="1728"/>
                  </a:lnTo>
                  <a:lnTo>
                    <a:pt x="999" y="1686"/>
                  </a:lnTo>
                  <a:lnTo>
                    <a:pt x="980" y="1631"/>
                  </a:lnTo>
                  <a:lnTo>
                    <a:pt x="961" y="1569"/>
                  </a:lnTo>
                  <a:lnTo>
                    <a:pt x="941" y="1501"/>
                  </a:lnTo>
                  <a:lnTo>
                    <a:pt x="922" y="1433"/>
                  </a:lnTo>
                  <a:lnTo>
                    <a:pt x="906" y="1368"/>
                  </a:lnTo>
                  <a:lnTo>
                    <a:pt x="896" y="1313"/>
                  </a:lnTo>
                  <a:lnTo>
                    <a:pt x="883" y="1249"/>
                  </a:lnTo>
                  <a:lnTo>
                    <a:pt x="871" y="1171"/>
                  </a:lnTo>
                  <a:lnTo>
                    <a:pt x="855" y="1080"/>
                  </a:lnTo>
                  <a:lnTo>
                    <a:pt x="842" y="988"/>
                  </a:lnTo>
                  <a:lnTo>
                    <a:pt x="829" y="895"/>
                  </a:lnTo>
                  <a:lnTo>
                    <a:pt x="819" y="811"/>
                  </a:lnTo>
                  <a:lnTo>
                    <a:pt x="812" y="740"/>
                  </a:lnTo>
                  <a:lnTo>
                    <a:pt x="810" y="691"/>
                  </a:lnTo>
                  <a:lnTo>
                    <a:pt x="809" y="648"/>
                  </a:lnTo>
                  <a:lnTo>
                    <a:pt x="808" y="601"/>
                  </a:lnTo>
                  <a:lnTo>
                    <a:pt x="805" y="549"/>
                  </a:lnTo>
                  <a:lnTo>
                    <a:pt x="802" y="499"/>
                  </a:lnTo>
                  <a:lnTo>
                    <a:pt x="799" y="447"/>
                  </a:lnTo>
                  <a:lnTo>
                    <a:pt x="799" y="399"/>
                  </a:lnTo>
                  <a:lnTo>
                    <a:pt x="799" y="354"/>
                  </a:lnTo>
                  <a:lnTo>
                    <a:pt x="802" y="317"/>
                  </a:lnTo>
                  <a:lnTo>
                    <a:pt x="803" y="272"/>
                  </a:lnTo>
                  <a:lnTo>
                    <a:pt x="805" y="220"/>
                  </a:lnTo>
                  <a:lnTo>
                    <a:pt x="805" y="160"/>
                  </a:lnTo>
                  <a:lnTo>
                    <a:pt x="803" y="104"/>
                  </a:lnTo>
                  <a:lnTo>
                    <a:pt x="797" y="53"/>
                  </a:lnTo>
                  <a:lnTo>
                    <a:pt x="792" y="17"/>
                  </a:lnTo>
                  <a:lnTo>
                    <a:pt x="780" y="0"/>
                  </a:lnTo>
                  <a:lnTo>
                    <a:pt x="767" y="10"/>
                  </a:lnTo>
                  <a:lnTo>
                    <a:pt x="748" y="37"/>
                  </a:lnTo>
                  <a:lnTo>
                    <a:pt x="728" y="74"/>
                  </a:lnTo>
                  <a:lnTo>
                    <a:pt x="706" y="116"/>
                  </a:lnTo>
                  <a:lnTo>
                    <a:pt x="686" y="160"/>
                  </a:lnTo>
                  <a:lnTo>
                    <a:pt x="666" y="201"/>
                  </a:lnTo>
                  <a:lnTo>
                    <a:pt x="650" y="236"/>
                  </a:lnTo>
                  <a:lnTo>
                    <a:pt x="640" y="259"/>
                  </a:lnTo>
                  <a:lnTo>
                    <a:pt x="637" y="269"/>
                  </a:lnTo>
                  <a:close/>
                </a:path>
              </a:pathLst>
            </a:custGeom>
            <a:solidFill>
              <a:srgbClr val="FFC7BB"/>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60" name="Freeform 16"/>
            <p:cNvSpPr>
              <a:spLocks/>
            </p:cNvSpPr>
            <p:nvPr/>
          </p:nvSpPr>
          <p:spPr bwMode="auto">
            <a:xfrm>
              <a:off x="2672" y="970"/>
              <a:ext cx="370" cy="799"/>
            </a:xfrm>
            <a:custGeom>
              <a:avLst/>
              <a:gdLst/>
              <a:ahLst/>
              <a:cxnLst>
                <a:cxn ang="0">
                  <a:pos x="528" y="512"/>
                </a:cxn>
                <a:cxn ang="0">
                  <a:pos x="483" y="709"/>
                </a:cxn>
                <a:cxn ang="0">
                  <a:pos x="452" y="940"/>
                </a:cxn>
                <a:cxn ang="0">
                  <a:pos x="427" y="1325"/>
                </a:cxn>
                <a:cxn ang="0">
                  <a:pos x="414" y="1643"/>
                </a:cxn>
                <a:cxn ang="0">
                  <a:pos x="300" y="1676"/>
                </a:cxn>
                <a:cxn ang="0">
                  <a:pos x="181" y="1732"/>
                </a:cxn>
                <a:cxn ang="0">
                  <a:pos x="88" y="1812"/>
                </a:cxn>
                <a:cxn ang="0">
                  <a:pos x="54" y="1902"/>
                </a:cxn>
                <a:cxn ang="0">
                  <a:pos x="10" y="2074"/>
                </a:cxn>
                <a:cxn ang="0">
                  <a:pos x="9" y="2198"/>
                </a:cxn>
                <a:cxn ang="0">
                  <a:pos x="49" y="2243"/>
                </a:cxn>
                <a:cxn ang="0">
                  <a:pos x="98" y="2286"/>
                </a:cxn>
                <a:cxn ang="0">
                  <a:pos x="153" y="2331"/>
                </a:cxn>
                <a:cxn ang="0">
                  <a:pos x="204" y="2360"/>
                </a:cxn>
                <a:cxn ang="0">
                  <a:pos x="268" y="2359"/>
                </a:cxn>
                <a:cxn ang="0">
                  <a:pos x="350" y="2333"/>
                </a:cxn>
                <a:cxn ang="0">
                  <a:pos x="410" y="2318"/>
                </a:cxn>
                <a:cxn ang="0">
                  <a:pos x="486" y="2336"/>
                </a:cxn>
                <a:cxn ang="0">
                  <a:pos x="604" y="2373"/>
                </a:cxn>
                <a:cxn ang="0">
                  <a:pos x="724" y="2396"/>
                </a:cxn>
                <a:cxn ang="0">
                  <a:pos x="795" y="2372"/>
                </a:cxn>
                <a:cxn ang="0">
                  <a:pos x="890" y="2325"/>
                </a:cxn>
                <a:cxn ang="0">
                  <a:pos x="984" y="2279"/>
                </a:cxn>
                <a:cxn ang="0">
                  <a:pos x="1042" y="2226"/>
                </a:cxn>
                <a:cxn ang="0">
                  <a:pos x="1094" y="2136"/>
                </a:cxn>
                <a:cxn ang="0">
                  <a:pos x="1109" y="2054"/>
                </a:cxn>
                <a:cxn ang="0">
                  <a:pos x="1077" y="1942"/>
                </a:cxn>
                <a:cxn ang="0">
                  <a:pos x="1041" y="1811"/>
                </a:cxn>
                <a:cxn ang="0">
                  <a:pos x="1013" y="1728"/>
                </a:cxn>
                <a:cxn ang="0">
                  <a:pos x="961" y="1569"/>
                </a:cxn>
                <a:cxn ang="0">
                  <a:pos x="906" y="1368"/>
                </a:cxn>
                <a:cxn ang="0">
                  <a:pos x="871" y="1171"/>
                </a:cxn>
                <a:cxn ang="0">
                  <a:pos x="829" y="895"/>
                </a:cxn>
                <a:cxn ang="0">
                  <a:pos x="810" y="691"/>
                </a:cxn>
                <a:cxn ang="0">
                  <a:pos x="805" y="549"/>
                </a:cxn>
                <a:cxn ang="0">
                  <a:pos x="799" y="399"/>
                </a:cxn>
                <a:cxn ang="0">
                  <a:pos x="803" y="272"/>
                </a:cxn>
                <a:cxn ang="0">
                  <a:pos x="803" y="104"/>
                </a:cxn>
                <a:cxn ang="0">
                  <a:pos x="780" y="0"/>
                </a:cxn>
                <a:cxn ang="0">
                  <a:pos x="728" y="76"/>
                </a:cxn>
                <a:cxn ang="0">
                  <a:pos x="666" y="210"/>
                </a:cxn>
                <a:cxn ang="0">
                  <a:pos x="638" y="282"/>
                </a:cxn>
              </a:cxnLst>
              <a:rect l="0" t="0" r="r" b="b"/>
              <a:pathLst>
                <a:path w="1110" h="2396">
                  <a:moveTo>
                    <a:pt x="638" y="282"/>
                  </a:moveTo>
                  <a:lnTo>
                    <a:pt x="570" y="412"/>
                  </a:lnTo>
                  <a:lnTo>
                    <a:pt x="528" y="512"/>
                  </a:lnTo>
                  <a:lnTo>
                    <a:pt x="502" y="588"/>
                  </a:lnTo>
                  <a:lnTo>
                    <a:pt x="491" y="652"/>
                  </a:lnTo>
                  <a:lnTo>
                    <a:pt x="483" y="709"/>
                  </a:lnTo>
                  <a:lnTo>
                    <a:pt x="479" y="771"/>
                  </a:lnTo>
                  <a:lnTo>
                    <a:pt x="469" y="844"/>
                  </a:lnTo>
                  <a:lnTo>
                    <a:pt x="452" y="940"/>
                  </a:lnTo>
                  <a:lnTo>
                    <a:pt x="433" y="1059"/>
                  </a:lnTo>
                  <a:lnTo>
                    <a:pt x="427" y="1190"/>
                  </a:lnTo>
                  <a:lnTo>
                    <a:pt x="427" y="1325"/>
                  </a:lnTo>
                  <a:lnTo>
                    <a:pt x="430" y="1453"/>
                  </a:lnTo>
                  <a:lnTo>
                    <a:pt x="426" y="1562"/>
                  </a:lnTo>
                  <a:lnTo>
                    <a:pt x="414" y="1643"/>
                  </a:lnTo>
                  <a:lnTo>
                    <a:pt x="385" y="1683"/>
                  </a:lnTo>
                  <a:lnTo>
                    <a:pt x="336" y="1676"/>
                  </a:lnTo>
                  <a:lnTo>
                    <a:pt x="300" y="1676"/>
                  </a:lnTo>
                  <a:lnTo>
                    <a:pt x="262" y="1688"/>
                  </a:lnTo>
                  <a:lnTo>
                    <a:pt x="220" y="1706"/>
                  </a:lnTo>
                  <a:lnTo>
                    <a:pt x="181" y="1732"/>
                  </a:lnTo>
                  <a:lnTo>
                    <a:pt x="143" y="1760"/>
                  </a:lnTo>
                  <a:lnTo>
                    <a:pt x="111" y="1787"/>
                  </a:lnTo>
                  <a:lnTo>
                    <a:pt x="88" y="1812"/>
                  </a:lnTo>
                  <a:lnTo>
                    <a:pt x="77" y="1832"/>
                  </a:lnTo>
                  <a:lnTo>
                    <a:pt x="67" y="1858"/>
                  </a:lnTo>
                  <a:lnTo>
                    <a:pt x="54" y="1902"/>
                  </a:lnTo>
                  <a:lnTo>
                    <a:pt x="38" y="1954"/>
                  </a:lnTo>
                  <a:lnTo>
                    <a:pt x="23" y="2015"/>
                  </a:lnTo>
                  <a:lnTo>
                    <a:pt x="10" y="2074"/>
                  </a:lnTo>
                  <a:lnTo>
                    <a:pt x="2" y="2127"/>
                  </a:lnTo>
                  <a:lnTo>
                    <a:pt x="0" y="2171"/>
                  </a:lnTo>
                  <a:lnTo>
                    <a:pt x="9" y="2198"/>
                  </a:lnTo>
                  <a:lnTo>
                    <a:pt x="22" y="2213"/>
                  </a:lnTo>
                  <a:lnTo>
                    <a:pt x="35" y="2229"/>
                  </a:lnTo>
                  <a:lnTo>
                    <a:pt x="49" y="2243"/>
                  </a:lnTo>
                  <a:lnTo>
                    <a:pt x="65" y="2257"/>
                  </a:lnTo>
                  <a:lnTo>
                    <a:pt x="81" y="2271"/>
                  </a:lnTo>
                  <a:lnTo>
                    <a:pt x="98" y="2286"/>
                  </a:lnTo>
                  <a:lnTo>
                    <a:pt x="116" y="2301"/>
                  </a:lnTo>
                  <a:lnTo>
                    <a:pt x="136" y="2318"/>
                  </a:lnTo>
                  <a:lnTo>
                    <a:pt x="153" y="2331"/>
                  </a:lnTo>
                  <a:lnTo>
                    <a:pt x="171" y="2343"/>
                  </a:lnTo>
                  <a:lnTo>
                    <a:pt x="187" y="2352"/>
                  </a:lnTo>
                  <a:lnTo>
                    <a:pt x="204" y="2360"/>
                  </a:lnTo>
                  <a:lnTo>
                    <a:pt x="221" y="2362"/>
                  </a:lnTo>
                  <a:lnTo>
                    <a:pt x="243" y="2362"/>
                  </a:lnTo>
                  <a:lnTo>
                    <a:pt x="268" y="2359"/>
                  </a:lnTo>
                  <a:lnTo>
                    <a:pt x="298" y="2352"/>
                  </a:lnTo>
                  <a:lnTo>
                    <a:pt x="326" y="2341"/>
                  </a:lnTo>
                  <a:lnTo>
                    <a:pt x="350" y="2333"/>
                  </a:lnTo>
                  <a:lnTo>
                    <a:pt x="372" y="2324"/>
                  </a:lnTo>
                  <a:lnTo>
                    <a:pt x="392" y="2321"/>
                  </a:lnTo>
                  <a:lnTo>
                    <a:pt x="410" y="2318"/>
                  </a:lnTo>
                  <a:lnTo>
                    <a:pt x="431" y="2320"/>
                  </a:lnTo>
                  <a:lnTo>
                    <a:pt x="456" y="2324"/>
                  </a:lnTo>
                  <a:lnTo>
                    <a:pt x="486" y="2336"/>
                  </a:lnTo>
                  <a:lnTo>
                    <a:pt x="520" y="2347"/>
                  </a:lnTo>
                  <a:lnTo>
                    <a:pt x="560" y="2362"/>
                  </a:lnTo>
                  <a:lnTo>
                    <a:pt x="604" y="2373"/>
                  </a:lnTo>
                  <a:lnTo>
                    <a:pt x="647" y="2385"/>
                  </a:lnTo>
                  <a:lnTo>
                    <a:pt x="687" y="2392"/>
                  </a:lnTo>
                  <a:lnTo>
                    <a:pt x="724" y="2396"/>
                  </a:lnTo>
                  <a:lnTo>
                    <a:pt x="754" y="2393"/>
                  </a:lnTo>
                  <a:lnTo>
                    <a:pt x="776" y="2386"/>
                  </a:lnTo>
                  <a:lnTo>
                    <a:pt x="795" y="2372"/>
                  </a:lnTo>
                  <a:lnTo>
                    <a:pt x="823" y="2357"/>
                  </a:lnTo>
                  <a:lnTo>
                    <a:pt x="855" y="2341"/>
                  </a:lnTo>
                  <a:lnTo>
                    <a:pt x="890" y="2325"/>
                  </a:lnTo>
                  <a:lnTo>
                    <a:pt x="923" y="2308"/>
                  </a:lnTo>
                  <a:lnTo>
                    <a:pt x="957" y="2294"/>
                  </a:lnTo>
                  <a:lnTo>
                    <a:pt x="984" y="2279"/>
                  </a:lnTo>
                  <a:lnTo>
                    <a:pt x="1006" y="2266"/>
                  </a:lnTo>
                  <a:lnTo>
                    <a:pt x="1022" y="2249"/>
                  </a:lnTo>
                  <a:lnTo>
                    <a:pt x="1042" y="2226"/>
                  </a:lnTo>
                  <a:lnTo>
                    <a:pt x="1061" y="2198"/>
                  </a:lnTo>
                  <a:lnTo>
                    <a:pt x="1080" y="2169"/>
                  </a:lnTo>
                  <a:lnTo>
                    <a:pt x="1094" y="2136"/>
                  </a:lnTo>
                  <a:lnTo>
                    <a:pt x="1104" y="2106"/>
                  </a:lnTo>
                  <a:lnTo>
                    <a:pt x="1110" y="2077"/>
                  </a:lnTo>
                  <a:lnTo>
                    <a:pt x="1109" y="2054"/>
                  </a:lnTo>
                  <a:lnTo>
                    <a:pt x="1100" y="2025"/>
                  </a:lnTo>
                  <a:lnTo>
                    <a:pt x="1090" y="1987"/>
                  </a:lnTo>
                  <a:lnTo>
                    <a:pt x="1077" y="1942"/>
                  </a:lnTo>
                  <a:lnTo>
                    <a:pt x="1065" y="1897"/>
                  </a:lnTo>
                  <a:lnTo>
                    <a:pt x="1052" y="1851"/>
                  </a:lnTo>
                  <a:lnTo>
                    <a:pt x="1041" y="1811"/>
                  </a:lnTo>
                  <a:lnTo>
                    <a:pt x="1030" y="1776"/>
                  </a:lnTo>
                  <a:lnTo>
                    <a:pt x="1023" y="1756"/>
                  </a:lnTo>
                  <a:lnTo>
                    <a:pt x="1013" y="1728"/>
                  </a:lnTo>
                  <a:lnTo>
                    <a:pt x="999" y="1686"/>
                  </a:lnTo>
                  <a:lnTo>
                    <a:pt x="980" y="1631"/>
                  </a:lnTo>
                  <a:lnTo>
                    <a:pt x="961" y="1569"/>
                  </a:lnTo>
                  <a:lnTo>
                    <a:pt x="941" y="1501"/>
                  </a:lnTo>
                  <a:lnTo>
                    <a:pt x="922" y="1433"/>
                  </a:lnTo>
                  <a:lnTo>
                    <a:pt x="906" y="1368"/>
                  </a:lnTo>
                  <a:lnTo>
                    <a:pt x="896" y="1313"/>
                  </a:lnTo>
                  <a:lnTo>
                    <a:pt x="883" y="1249"/>
                  </a:lnTo>
                  <a:lnTo>
                    <a:pt x="871" y="1171"/>
                  </a:lnTo>
                  <a:lnTo>
                    <a:pt x="855" y="1080"/>
                  </a:lnTo>
                  <a:lnTo>
                    <a:pt x="842" y="988"/>
                  </a:lnTo>
                  <a:lnTo>
                    <a:pt x="829" y="895"/>
                  </a:lnTo>
                  <a:lnTo>
                    <a:pt x="819" y="811"/>
                  </a:lnTo>
                  <a:lnTo>
                    <a:pt x="812" y="740"/>
                  </a:lnTo>
                  <a:lnTo>
                    <a:pt x="810" y="691"/>
                  </a:lnTo>
                  <a:lnTo>
                    <a:pt x="809" y="648"/>
                  </a:lnTo>
                  <a:lnTo>
                    <a:pt x="808" y="601"/>
                  </a:lnTo>
                  <a:lnTo>
                    <a:pt x="805" y="549"/>
                  </a:lnTo>
                  <a:lnTo>
                    <a:pt x="802" y="499"/>
                  </a:lnTo>
                  <a:lnTo>
                    <a:pt x="799" y="447"/>
                  </a:lnTo>
                  <a:lnTo>
                    <a:pt x="799" y="399"/>
                  </a:lnTo>
                  <a:lnTo>
                    <a:pt x="799" y="354"/>
                  </a:lnTo>
                  <a:lnTo>
                    <a:pt x="802" y="317"/>
                  </a:lnTo>
                  <a:lnTo>
                    <a:pt x="803" y="272"/>
                  </a:lnTo>
                  <a:lnTo>
                    <a:pt x="805" y="220"/>
                  </a:lnTo>
                  <a:lnTo>
                    <a:pt x="805" y="160"/>
                  </a:lnTo>
                  <a:lnTo>
                    <a:pt x="803" y="104"/>
                  </a:lnTo>
                  <a:lnTo>
                    <a:pt x="797" y="53"/>
                  </a:lnTo>
                  <a:lnTo>
                    <a:pt x="792" y="17"/>
                  </a:lnTo>
                  <a:lnTo>
                    <a:pt x="780" y="0"/>
                  </a:lnTo>
                  <a:lnTo>
                    <a:pt x="767" y="10"/>
                  </a:lnTo>
                  <a:lnTo>
                    <a:pt x="748" y="37"/>
                  </a:lnTo>
                  <a:lnTo>
                    <a:pt x="728" y="76"/>
                  </a:lnTo>
                  <a:lnTo>
                    <a:pt x="706" y="120"/>
                  </a:lnTo>
                  <a:lnTo>
                    <a:pt x="686" y="168"/>
                  </a:lnTo>
                  <a:lnTo>
                    <a:pt x="666" y="210"/>
                  </a:lnTo>
                  <a:lnTo>
                    <a:pt x="651" y="247"/>
                  </a:lnTo>
                  <a:lnTo>
                    <a:pt x="641" y="272"/>
                  </a:lnTo>
                  <a:lnTo>
                    <a:pt x="638" y="282"/>
                  </a:lnTo>
                  <a:close/>
                </a:path>
              </a:pathLst>
            </a:custGeom>
            <a:solidFill>
              <a:srgbClr val="FFC9BC"/>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61" name="Freeform 17"/>
            <p:cNvSpPr>
              <a:spLocks/>
            </p:cNvSpPr>
            <p:nvPr/>
          </p:nvSpPr>
          <p:spPr bwMode="auto">
            <a:xfrm>
              <a:off x="2672" y="970"/>
              <a:ext cx="370" cy="799"/>
            </a:xfrm>
            <a:custGeom>
              <a:avLst/>
              <a:gdLst/>
              <a:ahLst/>
              <a:cxnLst>
                <a:cxn ang="0">
                  <a:pos x="531" y="525"/>
                </a:cxn>
                <a:cxn ang="0">
                  <a:pos x="494" y="724"/>
                </a:cxn>
                <a:cxn ang="0">
                  <a:pos x="466" y="956"/>
                </a:cxn>
                <a:cxn ang="0">
                  <a:pos x="449" y="1354"/>
                </a:cxn>
                <a:cxn ang="0">
                  <a:pos x="439" y="1680"/>
                </a:cxn>
                <a:cxn ang="0">
                  <a:pos x="314" y="1686"/>
                </a:cxn>
                <a:cxn ang="0">
                  <a:pos x="190" y="1732"/>
                </a:cxn>
                <a:cxn ang="0">
                  <a:pos x="88" y="1811"/>
                </a:cxn>
                <a:cxn ang="0">
                  <a:pos x="54" y="1902"/>
                </a:cxn>
                <a:cxn ang="0">
                  <a:pos x="10" y="2074"/>
                </a:cxn>
                <a:cxn ang="0">
                  <a:pos x="9" y="2198"/>
                </a:cxn>
                <a:cxn ang="0">
                  <a:pos x="49" y="2243"/>
                </a:cxn>
                <a:cxn ang="0">
                  <a:pos x="98" y="2286"/>
                </a:cxn>
                <a:cxn ang="0">
                  <a:pos x="153" y="2331"/>
                </a:cxn>
                <a:cxn ang="0">
                  <a:pos x="204" y="2360"/>
                </a:cxn>
                <a:cxn ang="0">
                  <a:pos x="268" y="2359"/>
                </a:cxn>
                <a:cxn ang="0">
                  <a:pos x="350" y="2333"/>
                </a:cxn>
                <a:cxn ang="0">
                  <a:pos x="410" y="2318"/>
                </a:cxn>
                <a:cxn ang="0">
                  <a:pos x="486" y="2336"/>
                </a:cxn>
                <a:cxn ang="0">
                  <a:pos x="604" y="2373"/>
                </a:cxn>
                <a:cxn ang="0">
                  <a:pos x="724" y="2396"/>
                </a:cxn>
                <a:cxn ang="0">
                  <a:pos x="795" y="2372"/>
                </a:cxn>
                <a:cxn ang="0">
                  <a:pos x="890" y="2325"/>
                </a:cxn>
                <a:cxn ang="0">
                  <a:pos x="984" y="2279"/>
                </a:cxn>
                <a:cxn ang="0">
                  <a:pos x="1042" y="2226"/>
                </a:cxn>
                <a:cxn ang="0">
                  <a:pos x="1094" y="2136"/>
                </a:cxn>
                <a:cxn ang="0">
                  <a:pos x="1109" y="2054"/>
                </a:cxn>
                <a:cxn ang="0">
                  <a:pos x="1077" y="1942"/>
                </a:cxn>
                <a:cxn ang="0">
                  <a:pos x="1041" y="1811"/>
                </a:cxn>
                <a:cxn ang="0">
                  <a:pos x="1013" y="1728"/>
                </a:cxn>
                <a:cxn ang="0">
                  <a:pos x="961" y="1569"/>
                </a:cxn>
                <a:cxn ang="0">
                  <a:pos x="906" y="1368"/>
                </a:cxn>
                <a:cxn ang="0">
                  <a:pos x="871" y="1171"/>
                </a:cxn>
                <a:cxn ang="0">
                  <a:pos x="829" y="895"/>
                </a:cxn>
                <a:cxn ang="0">
                  <a:pos x="810" y="691"/>
                </a:cxn>
                <a:cxn ang="0">
                  <a:pos x="805" y="549"/>
                </a:cxn>
                <a:cxn ang="0">
                  <a:pos x="799" y="399"/>
                </a:cxn>
                <a:cxn ang="0">
                  <a:pos x="803" y="272"/>
                </a:cxn>
                <a:cxn ang="0">
                  <a:pos x="803" y="104"/>
                </a:cxn>
                <a:cxn ang="0">
                  <a:pos x="780" y="0"/>
                </a:cxn>
                <a:cxn ang="0">
                  <a:pos x="728" y="78"/>
                </a:cxn>
                <a:cxn ang="0">
                  <a:pos x="667" y="218"/>
                </a:cxn>
                <a:cxn ang="0">
                  <a:pos x="640" y="295"/>
                </a:cxn>
              </a:cxnLst>
              <a:rect l="0" t="0" r="r" b="b"/>
              <a:pathLst>
                <a:path w="1110" h="2396">
                  <a:moveTo>
                    <a:pt x="640" y="295"/>
                  </a:moveTo>
                  <a:lnTo>
                    <a:pt x="573" y="425"/>
                  </a:lnTo>
                  <a:lnTo>
                    <a:pt x="531" y="525"/>
                  </a:lnTo>
                  <a:lnTo>
                    <a:pt x="508" y="601"/>
                  </a:lnTo>
                  <a:lnTo>
                    <a:pt x="498" y="667"/>
                  </a:lnTo>
                  <a:lnTo>
                    <a:pt x="494" y="724"/>
                  </a:lnTo>
                  <a:lnTo>
                    <a:pt x="491" y="787"/>
                  </a:lnTo>
                  <a:lnTo>
                    <a:pt x="482" y="860"/>
                  </a:lnTo>
                  <a:lnTo>
                    <a:pt x="466" y="956"/>
                  </a:lnTo>
                  <a:lnTo>
                    <a:pt x="449" y="1076"/>
                  </a:lnTo>
                  <a:lnTo>
                    <a:pt x="444" y="1213"/>
                  </a:lnTo>
                  <a:lnTo>
                    <a:pt x="449" y="1354"/>
                  </a:lnTo>
                  <a:lnTo>
                    <a:pt x="453" y="1488"/>
                  </a:lnTo>
                  <a:lnTo>
                    <a:pt x="452" y="1599"/>
                  </a:lnTo>
                  <a:lnTo>
                    <a:pt x="439" y="1680"/>
                  </a:lnTo>
                  <a:lnTo>
                    <a:pt x="407" y="1715"/>
                  </a:lnTo>
                  <a:lnTo>
                    <a:pt x="350" y="1693"/>
                  </a:lnTo>
                  <a:lnTo>
                    <a:pt x="314" y="1686"/>
                  </a:lnTo>
                  <a:lnTo>
                    <a:pt x="275" y="1693"/>
                  </a:lnTo>
                  <a:lnTo>
                    <a:pt x="232" y="1708"/>
                  </a:lnTo>
                  <a:lnTo>
                    <a:pt x="190" y="1732"/>
                  </a:lnTo>
                  <a:lnTo>
                    <a:pt x="148" y="1759"/>
                  </a:lnTo>
                  <a:lnTo>
                    <a:pt x="114" y="1786"/>
                  </a:lnTo>
                  <a:lnTo>
                    <a:pt x="88" y="1811"/>
                  </a:lnTo>
                  <a:lnTo>
                    <a:pt x="77" y="1832"/>
                  </a:lnTo>
                  <a:lnTo>
                    <a:pt x="67" y="1858"/>
                  </a:lnTo>
                  <a:lnTo>
                    <a:pt x="54" y="1902"/>
                  </a:lnTo>
                  <a:lnTo>
                    <a:pt x="38" y="1954"/>
                  </a:lnTo>
                  <a:lnTo>
                    <a:pt x="23" y="2015"/>
                  </a:lnTo>
                  <a:lnTo>
                    <a:pt x="10" y="2074"/>
                  </a:lnTo>
                  <a:lnTo>
                    <a:pt x="2" y="2127"/>
                  </a:lnTo>
                  <a:lnTo>
                    <a:pt x="0" y="2171"/>
                  </a:lnTo>
                  <a:lnTo>
                    <a:pt x="9" y="2198"/>
                  </a:lnTo>
                  <a:lnTo>
                    <a:pt x="22" y="2213"/>
                  </a:lnTo>
                  <a:lnTo>
                    <a:pt x="35" y="2229"/>
                  </a:lnTo>
                  <a:lnTo>
                    <a:pt x="49" y="2243"/>
                  </a:lnTo>
                  <a:lnTo>
                    <a:pt x="65" y="2257"/>
                  </a:lnTo>
                  <a:lnTo>
                    <a:pt x="81" y="2271"/>
                  </a:lnTo>
                  <a:lnTo>
                    <a:pt x="98" y="2286"/>
                  </a:lnTo>
                  <a:lnTo>
                    <a:pt x="116" y="2301"/>
                  </a:lnTo>
                  <a:lnTo>
                    <a:pt x="136" y="2318"/>
                  </a:lnTo>
                  <a:lnTo>
                    <a:pt x="153" y="2331"/>
                  </a:lnTo>
                  <a:lnTo>
                    <a:pt x="171" y="2343"/>
                  </a:lnTo>
                  <a:lnTo>
                    <a:pt x="187" y="2352"/>
                  </a:lnTo>
                  <a:lnTo>
                    <a:pt x="204" y="2360"/>
                  </a:lnTo>
                  <a:lnTo>
                    <a:pt x="221" y="2362"/>
                  </a:lnTo>
                  <a:lnTo>
                    <a:pt x="243" y="2362"/>
                  </a:lnTo>
                  <a:lnTo>
                    <a:pt x="268" y="2359"/>
                  </a:lnTo>
                  <a:lnTo>
                    <a:pt x="298" y="2352"/>
                  </a:lnTo>
                  <a:lnTo>
                    <a:pt x="326" y="2341"/>
                  </a:lnTo>
                  <a:lnTo>
                    <a:pt x="350" y="2333"/>
                  </a:lnTo>
                  <a:lnTo>
                    <a:pt x="372" y="2324"/>
                  </a:lnTo>
                  <a:lnTo>
                    <a:pt x="392" y="2321"/>
                  </a:lnTo>
                  <a:lnTo>
                    <a:pt x="410" y="2318"/>
                  </a:lnTo>
                  <a:lnTo>
                    <a:pt x="431" y="2320"/>
                  </a:lnTo>
                  <a:lnTo>
                    <a:pt x="456" y="2324"/>
                  </a:lnTo>
                  <a:lnTo>
                    <a:pt x="486" y="2336"/>
                  </a:lnTo>
                  <a:lnTo>
                    <a:pt x="520" y="2347"/>
                  </a:lnTo>
                  <a:lnTo>
                    <a:pt x="560" y="2362"/>
                  </a:lnTo>
                  <a:lnTo>
                    <a:pt x="604" y="2373"/>
                  </a:lnTo>
                  <a:lnTo>
                    <a:pt x="647" y="2385"/>
                  </a:lnTo>
                  <a:lnTo>
                    <a:pt x="687" y="2392"/>
                  </a:lnTo>
                  <a:lnTo>
                    <a:pt x="724" y="2396"/>
                  </a:lnTo>
                  <a:lnTo>
                    <a:pt x="754" y="2393"/>
                  </a:lnTo>
                  <a:lnTo>
                    <a:pt x="776" y="2386"/>
                  </a:lnTo>
                  <a:lnTo>
                    <a:pt x="795" y="2372"/>
                  </a:lnTo>
                  <a:lnTo>
                    <a:pt x="823" y="2357"/>
                  </a:lnTo>
                  <a:lnTo>
                    <a:pt x="855" y="2341"/>
                  </a:lnTo>
                  <a:lnTo>
                    <a:pt x="890" y="2325"/>
                  </a:lnTo>
                  <a:lnTo>
                    <a:pt x="923" y="2308"/>
                  </a:lnTo>
                  <a:lnTo>
                    <a:pt x="957" y="2294"/>
                  </a:lnTo>
                  <a:lnTo>
                    <a:pt x="984" y="2279"/>
                  </a:lnTo>
                  <a:lnTo>
                    <a:pt x="1006" y="2266"/>
                  </a:lnTo>
                  <a:lnTo>
                    <a:pt x="1022" y="2249"/>
                  </a:lnTo>
                  <a:lnTo>
                    <a:pt x="1042" y="2226"/>
                  </a:lnTo>
                  <a:lnTo>
                    <a:pt x="1061" y="2198"/>
                  </a:lnTo>
                  <a:lnTo>
                    <a:pt x="1080" y="2169"/>
                  </a:lnTo>
                  <a:lnTo>
                    <a:pt x="1094" y="2136"/>
                  </a:lnTo>
                  <a:lnTo>
                    <a:pt x="1104" y="2106"/>
                  </a:lnTo>
                  <a:lnTo>
                    <a:pt x="1110" y="2077"/>
                  </a:lnTo>
                  <a:lnTo>
                    <a:pt x="1109" y="2054"/>
                  </a:lnTo>
                  <a:lnTo>
                    <a:pt x="1100" y="2025"/>
                  </a:lnTo>
                  <a:lnTo>
                    <a:pt x="1090" y="1987"/>
                  </a:lnTo>
                  <a:lnTo>
                    <a:pt x="1077" y="1942"/>
                  </a:lnTo>
                  <a:lnTo>
                    <a:pt x="1065" y="1897"/>
                  </a:lnTo>
                  <a:lnTo>
                    <a:pt x="1052" y="1851"/>
                  </a:lnTo>
                  <a:lnTo>
                    <a:pt x="1041" y="1811"/>
                  </a:lnTo>
                  <a:lnTo>
                    <a:pt x="1030" y="1776"/>
                  </a:lnTo>
                  <a:lnTo>
                    <a:pt x="1023" y="1756"/>
                  </a:lnTo>
                  <a:lnTo>
                    <a:pt x="1013" y="1728"/>
                  </a:lnTo>
                  <a:lnTo>
                    <a:pt x="999" y="1686"/>
                  </a:lnTo>
                  <a:lnTo>
                    <a:pt x="980" y="1631"/>
                  </a:lnTo>
                  <a:lnTo>
                    <a:pt x="961" y="1569"/>
                  </a:lnTo>
                  <a:lnTo>
                    <a:pt x="941" y="1501"/>
                  </a:lnTo>
                  <a:lnTo>
                    <a:pt x="922" y="1433"/>
                  </a:lnTo>
                  <a:lnTo>
                    <a:pt x="906" y="1368"/>
                  </a:lnTo>
                  <a:lnTo>
                    <a:pt x="896" y="1313"/>
                  </a:lnTo>
                  <a:lnTo>
                    <a:pt x="883" y="1249"/>
                  </a:lnTo>
                  <a:lnTo>
                    <a:pt x="871" y="1171"/>
                  </a:lnTo>
                  <a:lnTo>
                    <a:pt x="855" y="1080"/>
                  </a:lnTo>
                  <a:lnTo>
                    <a:pt x="842" y="988"/>
                  </a:lnTo>
                  <a:lnTo>
                    <a:pt x="829" y="895"/>
                  </a:lnTo>
                  <a:lnTo>
                    <a:pt x="819" y="811"/>
                  </a:lnTo>
                  <a:lnTo>
                    <a:pt x="812" y="740"/>
                  </a:lnTo>
                  <a:lnTo>
                    <a:pt x="810" y="691"/>
                  </a:lnTo>
                  <a:lnTo>
                    <a:pt x="809" y="648"/>
                  </a:lnTo>
                  <a:lnTo>
                    <a:pt x="808" y="601"/>
                  </a:lnTo>
                  <a:lnTo>
                    <a:pt x="805" y="549"/>
                  </a:lnTo>
                  <a:lnTo>
                    <a:pt x="802" y="499"/>
                  </a:lnTo>
                  <a:lnTo>
                    <a:pt x="799" y="447"/>
                  </a:lnTo>
                  <a:lnTo>
                    <a:pt x="799" y="399"/>
                  </a:lnTo>
                  <a:lnTo>
                    <a:pt x="799" y="354"/>
                  </a:lnTo>
                  <a:lnTo>
                    <a:pt x="802" y="317"/>
                  </a:lnTo>
                  <a:lnTo>
                    <a:pt x="803" y="272"/>
                  </a:lnTo>
                  <a:lnTo>
                    <a:pt x="805" y="220"/>
                  </a:lnTo>
                  <a:lnTo>
                    <a:pt x="805" y="160"/>
                  </a:lnTo>
                  <a:lnTo>
                    <a:pt x="803" y="104"/>
                  </a:lnTo>
                  <a:lnTo>
                    <a:pt x="797" y="53"/>
                  </a:lnTo>
                  <a:lnTo>
                    <a:pt x="792" y="17"/>
                  </a:lnTo>
                  <a:lnTo>
                    <a:pt x="780" y="0"/>
                  </a:lnTo>
                  <a:lnTo>
                    <a:pt x="767" y="10"/>
                  </a:lnTo>
                  <a:lnTo>
                    <a:pt x="748" y="37"/>
                  </a:lnTo>
                  <a:lnTo>
                    <a:pt x="728" y="78"/>
                  </a:lnTo>
                  <a:lnTo>
                    <a:pt x="708" y="124"/>
                  </a:lnTo>
                  <a:lnTo>
                    <a:pt x="687" y="173"/>
                  </a:lnTo>
                  <a:lnTo>
                    <a:pt x="667" y="218"/>
                  </a:lnTo>
                  <a:lnTo>
                    <a:pt x="653" y="257"/>
                  </a:lnTo>
                  <a:lnTo>
                    <a:pt x="643" y="285"/>
                  </a:lnTo>
                  <a:lnTo>
                    <a:pt x="640" y="295"/>
                  </a:lnTo>
                  <a:close/>
                </a:path>
              </a:pathLst>
            </a:custGeom>
            <a:solidFill>
              <a:srgbClr val="FFCBBE"/>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62" name="Freeform 18"/>
            <p:cNvSpPr>
              <a:spLocks/>
            </p:cNvSpPr>
            <p:nvPr/>
          </p:nvSpPr>
          <p:spPr bwMode="auto">
            <a:xfrm>
              <a:off x="2672" y="970"/>
              <a:ext cx="370" cy="799"/>
            </a:xfrm>
            <a:custGeom>
              <a:avLst/>
              <a:gdLst/>
              <a:ahLst/>
              <a:cxnLst>
                <a:cxn ang="0">
                  <a:pos x="535" y="539"/>
                </a:cxn>
                <a:cxn ang="0">
                  <a:pos x="504" y="739"/>
                </a:cxn>
                <a:cxn ang="0">
                  <a:pos x="481" y="972"/>
                </a:cxn>
                <a:cxn ang="0">
                  <a:pos x="469" y="1382"/>
                </a:cxn>
                <a:cxn ang="0">
                  <a:pos x="463" y="1717"/>
                </a:cxn>
                <a:cxn ang="0">
                  <a:pos x="330" y="1696"/>
                </a:cxn>
                <a:cxn ang="0">
                  <a:pos x="197" y="1734"/>
                </a:cxn>
                <a:cxn ang="0">
                  <a:pos x="90" y="1811"/>
                </a:cxn>
                <a:cxn ang="0">
                  <a:pos x="54" y="1902"/>
                </a:cxn>
                <a:cxn ang="0">
                  <a:pos x="10" y="2074"/>
                </a:cxn>
                <a:cxn ang="0">
                  <a:pos x="9" y="2198"/>
                </a:cxn>
                <a:cxn ang="0">
                  <a:pos x="49" y="2243"/>
                </a:cxn>
                <a:cxn ang="0">
                  <a:pos x="98" y="2286"/>
                </a:cxn>
                <a:cxn ang="0">
                  <a:pos x="153" y="2331"/>
                </a:cxn>
                <a:cxn ang="0">
                  <a:pos x="204" y="2360"/>
                </a:cxn>
                <a:cxn ang="0">
                  <a:pos x="268" y="2359"/>
                </a:cxn>
                <a:cxn ang="0">
                  <a:pos x="350" y="2333"/>
                </a:cxn>
                <a:cxn ang="0">
                  <a:pos x="410" y="2318"/>
                </a:cxn>
                <a:cxn ang="0">
                  <a:pos x="486" y="2336"/>
                </a:cxn>
                <a:cxn ang="0">
                  <a:pos x="604" y="2373"/>
                </a:cxn>
                <a:cxn ang="0">
                  <a:pos x="724" y="2396"/>
                </a:cxn>
                <a:cxn ang="0">
                  <a:pos x="795" y="2372"/>
                </a:cxn>
                <a:cxn ang="0">
                  <a:pos x="890" y="2325"/>
                </a:cxn>
                <a:cxn ang="0">
                  <a:pos x="984" y="2279"/>
                </a:cxn>
                <a:cxn ang="0">
                  <a:pos x="1042" y="2226"/>
                </a:cxn>
                <a:cxn ang="0">
                  <a:pos x="1094" y="2136"/>
                </a:cxn>
                <a:cxn ang="0">
                  <a:pos x="1109" y="2054"/>
                </a:cxn>
                <a:cxn ang="0">
                  <a:pos x="1077" y="1942"/>
                </a:cxn>
                <a:cxn ang="0">
                  <a:pos x="1041" y="1811"/>
                </a:cxn>
                <a:cxn ang="0">
                  <a:pos x="1013" y="1728"/>
                </a:cxn>
                <a:cxn ang="0">
                  <a:pos x="961" y="1569"/>
                </a:cxn>
                <a:cxn ang="0">
                  <a:pos x="906" y="1368"/>
                </a:cxn>
                <a:cxn ang="0">
                  <a:pos x="871" y="1171"/>
                </a:cxn>
                <a:cxn ang="0">
                  <a:pos x="829" y="895"/>
                </a:cxn>
                <a:cxn ang="0">
                  <a:pos x="810" y="691"/>
                </a:cxn>
                <a:cxn ang="0">
                  <a:pos x="805" y="549"/>
                </a:cxn>
                <a:cxn ang="0">
                  <a:pos x="799" y="399"/>
                </a:cxn>
                <a:cxn ang="0">
                  <a:pos x="803" y="272"/>
                </a:cxn>
                <a:cxn ang="0">
                  <a:pos x="803" y="104"/>
                </a:cxn>
                <a:cxn ang="0">
                  <a:pos x="780" y="0"/>
                </a:cxn>
                <a:cxn ang="0">
                  <a:pos x="729" y="81"/>
                </a:cxn>
                <a:cxn ang="0">
                  <a:pos x="670" y="228"/>
                </a:cxn>
                <a:cxn ang="0">
                  <a:pos x="643" y="308"/>
                </a:cxn>
              </a:cxnLst>
              <a:rect l="0" t="0" r="r" b="b"/>
              <a:pathLst>
                <a:path w="1110" h="2396">
                  <a:moveTo>
                    <a:pt x="643" y="308"/>
                  </a:moveTo>
                  <a:lnTo>
                    <a:pt x="576" y="438"/>
                  </a:lnTo>
                  <a:lnTo>
                    <a:pt x="535" y="539"/>
                  </a:lnTo>
                  <a:lnTo>
                    <a:pt x="514" y="616"/>
                  </a:lnTo>
                  <a:lnTo>
                    <a:pt x="507" y="681"/>
                  </a:lnTo>
                  <a:lnTo>
                    <a:pt x="504" y="739"/>
                  </a:lnTo>
                  <a:lnTo>
                    <a:pt x="504" y="801"/>
                  </a:lnTo>
                  <a:lnTo>
                    <a:pt x="496" y="875"/>
                  </a:lnTo>
                  <a:lnTo>
                    <a:pt x="481" y="972"/>
                  </a:lnTo>
                  <a:lnTo>
                    <a:pt x="463" y="1093"/>
                  </a:lnTo>
                  <a:lnTo>
                    <a:pt x="463" y="1235"/>
                  </a:lnTo>
                  <a:lnTo>
                    <a:pt x="469" y="1382"/>
                  </a:lnTo>
                  <a:lnTo>
                    <a:pt x="476" y="1521"/>
                  </a:lnTo>
                  <a:lnTo>
                    <a:pt x="476" y="1637"/>
                  </a:lnTo>
                  <a:lnTo>
                    <a:pt x="463" y="1717"/>
                  </a:lnTo>
                  <a:lnTo>
                    <a:pt x="427" y="1747"/>
                  </a:lnTo>
                  <a:lnTo>
                    <a:pt x="366" y="1712"/>
                  </a:lnTo>
                  <a:lnTo>
                    <a:pt x="330" y="1696"/>
                  </a:lnTo>
                  <a:lnTo>
                    <a:pt x="288" y="1699"/>
                  </a:lnTo>
                  <a:lnTo>
                    <a:pt x="242" y="1712"/>
                  </a:lnTo>
                  <a:lnTo>
                    <a:pt x="197" y="1734"/>
                  </a:lnTo>
                  <a:lnTo>
                    <a:pt x="153" y="1759"/>
                  </a:lnTo>
                  <a:lnTo>
                    <a:pt x="117" y="1786"/>
                  </a:lnTo>
                  <a:lnTo>
                    <a:pt x="90" y="1811"/>
                  </a:lnTo>
                  <a:lnTo>
                    <a:pt x="77" y="1832"/>
                  </a:lnTo>
                  <a:lnTo>
                    <a:pt x="67" y="1858"/>
                  </a:lnTo>
                  <a:lnTo>
                    <a:pt x="54" y="1902"/>
                  </a:lnTo>
                  <a:lnTo>
                    <a:pt x="38" y="1954"/>
                  </a:lnTo>
                  <a:lnTo>
                    <a:pt x="23" y="2015"/>
                  </a:lnTo>
                  <a:lnTo>
                    <a:pt x="10" y="2074"/>
                  </a:lnTo>
                  <a:lnTo>
                    <a:pt x="2" y="2127"/>
                  </a:lnTo>
                  <a:lnTo>
                    <a:pt x="0" y="2171"/>
                  </a:lnTo>
                  <a:lnTo>
                    <a:pt x="9" y="2198"/>
                  </a:lnTo>
                  <a:lnTo>
                    <a:pt x="22" y="2213"/>
                  </a:lnTo>
                  <a:lnTo>
                    <a:pt x="35" y="2229"/>
                  </a:lnTo>
                  <a:lnTo>
                    <a:pt x="49" y="2243"/>
                  </a:lnTo>
                  <a:lnTo>
                    <a:pt x="65" y="2257"/>
                  </a:lnTo>
                  <a:lnTo>
                    <a:pt x="81" y="2271"/>
                  </a:lnTo>
                  <a:lnTo>
                    <a:pt x="98" y="2286"/>
                  </a:lnTo>
                  <a:lnTo>
                    <a:pt x="116" y="2301"/>
                  </a:lnTo>
                  <a:lnTo>
                    <a:pt x="136" y="2318"/>
                  </a:lnTo>
                  <a:lnTo>
                    <a:pt x="153" y="2331"/>
                  </a:lnTo>
                  <a:lnTo>
                    <a:pt x="171" y="2343"/>
                  </a:lnTo>
                  <a:lnTo>
                    <a:pt x="187" y="2352"/>
                  </a:lnTo>
                  <a:lnTo>
                    <a:pt x="204" y="2360"/>
                  </a:lnTo>
                  <a:lnTo>
                    <a:pt x="221" y="2362"/>
                  </a:lnTo>
                  <a:lnTo>
                    <a:pt x="243" y="2362"/>
                  </a:lnTo>
                  <a:lnTo>
                    <a:pt x="268" y="2359"/>
                  </a:lnTo>
                  <a:lnTo>
                    <a:pt x="298" y="2352"/>
                  </a:lnTo>
                  <a:lnTo>
                    <a:pt x="326" y="2341"/>
                  </a:lnTo>
                  <a:lnTo>
                    <a:pt x="350" y="2333"/>
                  </a:lnTo>
                  <a:lnTo>
                    <a:pt x="372" y="2324"/>
                  </a:lnTo>
                  <a:lnTo>
                    <a:pt x="392" y="2321"/>
                  </a:lnTo>
                  <a:lnTo>
                    <a:pt x="410" y="2318"/>
                  </a:lnTo>
                  <a:lnTo>
                    <a:pt x="431" y="2320"/>
                  </a:lnTo>
                  <a:lnTo>
                    <a:pt x="456" y="2324"/>
                  </a:lnTo>
                  <a:lnTo>
                    <a:pt x="486" y="2336"/>
                  </a:lnTo>
                  <a:lnTo>
                    <a:pt x="520" y="2347"/>
                  </a:lnTo>
                  <a:lnTo>
                    <a:pt x="560" y="2362"/>
                  </a:lnTo>
                  <a:lnTo>
                    <a:pt x="604" y="2373"/>
                  </a:lnTo>
                  <a:lnTo>
                    <a:pt x="647" y="2385"/>
                  </a:lnTo>
                  <a:lnTo>
                    <a:pt x="687" y="2392"/>
                  </a:lnTo>
                  <a:lnTo>
                    <a:pt x="724" y="2396"/>
                  </a:lnTo>
                  <a:lnTo>
                    <a:pt x="754" y="2393"/>
                  </a:lnTo>
                  <a:lnTo>
                    <a:pt x="776" y="2386"/>
                  </a:lnTo>
                  <a:lnTo>
                    <a:pt x="795" y="2372"/>
                  </a:lnTo>
                  <a:lnTo>
                    <a:pt x="823" y="2357"/>
                  </a:lnTo>
                  <a:lnTo>
                    <a:pt x="855" y="2341"/>
                  </a:lnTo>
                  <a:lnTo>
                    <a:pt x="890" y="2325"/>
                  </a:lnTo>
                  <a:lnTo>
                    <a:pt x="923" y="2308"/>
                  </a:lnTo>
                  <a:lnTo>
                    <a:pt x="957" y="2294"/>
                  </a:lnTo>
                  <a:lnTo>
                    <a:pt x="984" y="2279"/>
                  </a:lnTo>
                  <a:lnTo>
                    <a:pt x="1006" y="2266"/>
                  </a:lnTo>
                  <a:lnTo>
                    <a:pt x="1022" y="2249"/>
                  </a:lnTo>
                  <a:lnTo>
                    <a:pt x="1042" y="2226"/>
                  </a:lnTo>
                  <a:lnTo>
                    <a:pt x="1061" y="2198"/>
                  </a:lnTo>
                  <a:lnTo>
                    <a:pt x="1080" y="2169"/>
                  </a:lnTo>
                  <a:lnTo>
                    <a:pt x="1094" y="2136"/>
                  </a:lnTo>
                  <a:lnTo>
                    <a:pt x="1104" y="2106"/>
                  </a:lnTo>
                  <a:lnTo>
                    <a:pt x="1110" y="2077"/>
                  </a:lnTo>
                  <a:lnTo>
                    <a:pt x="1109" y="2054"/>
                  </a:lnTo>
                  <a:lnTo>
                    <a:pt x="1100" y="2025"/>
                  </a:lnTo>
                  <a:lnTo>
                    <a:pt x="1090" y="1987"/>
                  </a:lnTo>
                  <a:lnTo>
                    <a:pt x="1077" y="1942"/>
                  </a:lnTo>
                  <a:lnTo>
                    <a:pt x="1065" y="1897"/>
                  </a:lnTo>
                  <a:lnTo>
                    <a:pt x="1052" y="1851"/>
                  </a:lnTo>
                  <a:lnTo>
                    <a:pt x="1041" y="1811"/>
                  </a:lnTo>
                  <a:lnTo>
                    <a:pt x="1030" y="1776"/>
                  </a:lnTo>
                  <a:lnTo>
                    <a:pt x="1023" y="1756"/>
                  </a:lnTo>
                  <a:lnTo>
                    <a:pt x="1013" y="1728"/>
                  </a:lnTo>
                  <a:lnTo>
                    <a:pt x="999" y="1686"/>
                  </a:lnTo>
                  <a:lnTo>
                    <a:pt x="980" y="1631"/>
                  </a:lnTo>
                  <a:lnTo>
                    <a:pt x="961" y="1569"/>
                  </a:lnTo>
                  <a:lnTo>
                    <a:pt x="941" y="1501"/>
                  </a:lnTo>
                  <a:lnTo>
                    <a:pt x="922" y="1433"/>
                  </a:lnTo>
                  <a:lnTo>
                    <a:pt x="906" y="1368"/>
                  </a:lnTo>
                  <a:lnTo>
                    <a:pt x="896" y="1313"/>
                  </a:lnTo>
                  <a:lnTo>
                    <a:pt x="883" y="1249"/>
                  </a:lnTo>
                  <a:lnTo>
                    <a:pt x="871" y="1171"/>
                  </a:lnTo>
                  <a:lnTo>
                    <a:pt x="855" y="1080"/>
                  </a:lnTo>
                  <a:lnTo>
                    <a:pt x="842" y="988"/>
                  </a:lnTo>
                  <a:lnTo>
                    <a:pt x="829" y="895"/>
                  </a:lnTo>
                  <a:lnTo>
                    <a:pt x="819" y="811"/>
                  </a:lnTo>
                  <a:lnTo>
                    <a:pt x="812" y="740"/>
                  </a:lnTo>
                  <a:lnTo>
                    <a:pt x="810" y="691"/>
                  </a:lnTo>
                  <a:lnTo>
                    <a:pt x="809" y="648"/>
                  </a:lnTo>
                  <a:lnTo>
                    <a:pt x="808" y="601"/>
                  </a:lnTo>
                  <a:lnTo>
                    <a:pt x="805" y="549"/>
                  </a:lnTo>
                  <a:lnTo>
                    <a:pt x="802" y="499"/>
                  </a:lnTo>
                  <a:lnTo>
                    <a:pt x="799" y="447"/>
                  </a:lnTo>
                  <a:lnTo>
                    <a:pt x="799" y="399"/>
                  </a:lnTo>
                  <a:lnTo>
                    <a:pt x="799" y="354"/>
                  </a:lnTo>
                  <a:lnTo>
                    <a:pt x="802" y="317"/>
                  </a:lnTo>
                  <a:lnTo>
                    <a:pt x="803" y="272"/>
                  </a:lnTo>
                  <a:lnTo>
                    <a:pt x="805" y="220"/>
                  </a:lnTo>
                  <a:lnTo>
                    <a:pt x="805" y="160"/>
                  </a:lnTo>
                  <a:lnTo>
                    <a:pt x="803" y="104"/>
                  </a:lnTo>
                  <a:lnTo>
                    <a:pt x="797" y="53"/>
                  </a:lnTo>
                  <a:lnTo>
                    <a:pt x="792" y="17"/>
                  </a:lnTo>
                  <a:lnTo>
                    <a:pt x="780" y="0"/>
                  </a:lnTo>
                  <a:lnTo>
                    <a:pt x="767" y="10"/>
                  </a:lnTo>
                  <a:lnTo>
                    <a:pt x="748" y="39"/>
                  </a:lnTo>
                  <a:lnTo>
                    <a:pt x="729" y="81"/>
                  </a:lnTo>
                  <a:lnTo>
                    <a:pt x="708" y="129"/>
                  </a:lnTo>
                  <a:lnTo>
                    <a:pt x="689" y="181"/>
                  </a:lnTo>
                  <a:lnTo>
                    <a:pt x="670" y="228"/>
                  </a:lnTo>
                  <a:lnTo>
                    <a:pt x="656" y="269"/>
                  </a:lnTo>
                  <a:lnTo>
                    <a:pt x="645" y="296"/>
                  </a:lnTo>
                  <a:lnTo>
                    <a:pt x="643" y="308"/>
                  </a:lnTo>
                  <a:close/>
                </a:path>
              </a:pathLst>
            </a:custGeom>
            <a:solidFill>
              <a:srgbClr val="FFCDC0"/>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63" name="Freeform 19"/>
            <p:cNvSpPr>
              <a:spLocks/>
            </p:cNvSpPr>
            <p:nvPr/>
          </p:nvSpPr>
          <p:spPr bwMode="auto">
            <a:xfrm>
              <a:off x="2672" y="970"/>
              <a:ext cx="370" cy="799"/>
            </a:xfrm>
            <a:custGeom>
              <a:avLst/>
              <a:gdLst/>
              <a:ahLst/>
              <a:cxnLst>
                <a:cxn ang="0">
                  <a:pos x="540" y="552"/>
                </a:cxn>
                <a:cxn ang="0">
                  <a:pos x="515" y="752"/>
                </a:cxn>
                <a:cxn ang="0">
                  <a:pos x="495" y="986"/>
                </a:cxn>
                <a:cxn ang="0">
                  <a:pos x="489" y="1410"/>
                </a:cxn>
                <a:cxn ang="0">
                  <a:pos x="486" y="1753"/>
                </a:cxn>
                <a:cxn ang="0">
                  <a:pos x="346" y="1708"/>
                </a:cxn>
                <a:cxn ang="0">
                  <a:pos x="206" y="1734"/>
                </a:cxn>
                <a:cxn ang="0">
                  <a:pos x="91" y="1811"/>
                </a:cxn>
                <a:cxn ang="0">
                  <a:pos x="54" y="1902"/>
                </a:cxn>
                <a:cxn ang="0">
                  <a:pos x="10" y="2074"/>
                </a:cxn>
                <a:cxn ang="0">
                  <a:pos x="9" y="2198"/>
                </a:cxn>
                <a:cxn ang="0">
                  <a:pos x="49" y="2243"/>
                </a:cxn>
                <a:cxn ang="0">
                  <a:pos x="98" y="2286"/>
                </a:cxn>
                <a:cxn ang="0">
                  <a:pos x="153" y="2331"/>
                </a:cxn>
                <a:cxn ang="0">
                  <a:pos x="204" y="2360"/>
                </a:cxn>
                <a:cxn ang="0">
                  <a:pos x="268" y="2359"/>
                </a:cxn>
                <a:cxn ang="0">
                  <a:pos x="350" y="2333"/>
                </a:cxn>
                <a:cxn ang="0">
                  <a:pos x="410" y="2318"/>
                </a:cxn>
                <a:cxn ang="0">
                  <a:pos x="486" y="2336"/>
                </a:cxn>
                <a:cxn ang="0">
                  <a:pos x="604" y="2373"/>
                </a:cxn>
                <a:cxn ang="0">
                  <a:pos x="724" y="2396"/>
                </a:cxn>
                <a:cxn ang="0">
                  <a:pos x="795" y="2372"/>
                </a:cxn>
                <a:cxn ang="0">
                  <a:pos x="890" y="2325"/>
                </a:cxn>
                <a:cxn ang="0">
                  <a:pos x="984" y="2279"/>
                </a:cxn>
                <a:cxn ang="0">
                  <a:pos x="1042" y="2226"/>
                </a:cxn>
                <a:cxn ang="0">
                  <a:pos x="1094" y="2136"/>
                </a:cxn>
                <a:cxn ang="0">
                  <a:pos x="1109" y="2054"/>
                </a:cxn>
                <a:cxn ang="0">
                  <a:pos x="1077" y="1942"/>
                </a:cxn>
                <a:cxn ang="0">
                  <a:pos x="1041" y="1811"/>
                </a:cxn>
                <a:cxn ang="0">
                  <a:pos x="1013" y="1728"/>
                </a:cxn>
                <a:cxn ang="0">
                  <a:pos x="961" y="1569"/>
                </a:cxn>
                <a:cxn ang="0">
                  <a:pos x="906" y="1368"/>
                </a:cxn>
                <a:cxn ang="0">
                  <a:pos x="871" y="1171"/>
                </a:cxn>
                <a:cxn ang="0">
                  <a:pos x="829" y="895"/>
                </a:cxn>
                <a:cxn ang="0">
                  <a:pos x="810" y="691"/>
                </a:cxn>
                <a:cxn ang="0">
                  <a:pos x="805" y="549"/>
                </a:cxn>
                <a:cxn ang="0">
                  <a:pos x="799" y="399"/>
                </a:cxn>
                <a:cxn ang="0">
                  <a:pos x="803" y="272"/>
                </a:cxn>
                <a:cxn ang="0">
                  <a:pos x="803" y="104"/>
                </a:cxn>
                <a:cxn ang="0">
                  <a:pos x="780" y="0"/>
                </a:cxn>
                <a:cxn ang="0">
                  <a:pos x="729" y="82"/>
                </a:cxn>
                <a:cxn ang="0">
                  <a:pos x="670" y="236"/>
                </a:cxn>
                <a:cxn ang="0">
                  <a:pos x="644" y="321"/>
                </a:cxn>
              </a:cxnLst>
              <a:rect l="0" t="0" r="r" b="b"/>
              <a:pathLst>
                <a:path w="1110" h="2396">
                  <a:moveTo>
                    <a:pt x="644" y="321"/>
                  </a:moveTo>
                  <a:lnTo>
                    <a:pt x="579" y="451"/>
                  </a:lnTo>
                  <a:lnTo>
                    <a:pt x="540" y="552"/>
                  </a:lnTo>
                  <a:lnTo>
                    <a:pt x="520" y="629"/>
                  </a:lnTo>
                  <a:lnTo>
                    <a:pt x="515" y="694"/>
                  </a:lnTo>
                  <a:lnTo>
                    <a:pt x="515" y="752"/>
                  </a:lnTo>
                  <a:lnTo>
                    <a:pt x="515" y="816"/>
                  </a:lnTo>
                  <a:lnTo>
                    <a:pt x="511" y="889"/>
                  </a:lnTo>
                  <a:lnTo>
                    <a:pt x="495" y="986"/>
                  </a:lnTo>
                  <a:lnTo>
                    <a:pt x="479" y="1111"/>
                  </a:lnTo>
                  <a:lnTo>
                    <a:pt x="481" y="1257"/>
                  </a:lnTo>
                  <a:lnTo>
                    <a:pt x="489" y="1410"/>
                  </a:lnTo>
                  <a:lnTo>
                    <a:pt x="499" y="1555"/>
                  </a:lnTo>
                  <a:lnTo>
                    <a:pt x="499" y="1673"/>
                  </a:lnTo>
                  <a:lnTo>
                    <a:pt x="486" y="1753"/>
                  </a:lnTo>
                  <a:lnTo>
                    <a:pt x="449" y="1776"/>
                  </a:lnTo>
                  <a:lnTo>
                    <a:pt x="382" y="1730"/>
                  </a:lnTo>
                  <a:lnTo>
                    <a:pt x="346" y="1708"/>
                  </a:lnTo>
                  <a:lnTo>
                    <a:pt x="303" y="1705"/>
                  </a:lnTo>
                  <a:lnTo>
                    <a:pt x="253" y="1714"/>
                  </a:lnTo>
                  <a:lnTo>
                    <a:pt x="206" y="1734"/>
                  </a:lnTo>
                  <a:lnTo>
                    <a:pt x="158" y="1757"/>
                  </a:lnTo>
                  <a:lnTo>
                    <a:pt x="119" y="1786"/>
                  </a:lnTo>
                  <a:lnTo>
                    <a:pt x="91" y="1811"/>
                  </a:lnTo>
                  <a:lnTo>
                    <a:pt x="77" y="1832"/>
                  </a:lnTo>
                  <a:lnTo>
                    <a:pt x="67" y="1858"/>
                  </a:lnTo>
                  <a:lnTo>
                    <a:pt x="54" y="1902"/>
                  </a:lnTo>
                  <a:lnTo>
                    <a:pt x="38" y="1954"/>
                  </a:lnTo>
                  <a:lnTo>
                    <a:pt x="23" y="2015"/>
                  </a:lnTo>
                  <a:lnTo>
                    <a:pt x="10" y="2074"/>
                  </a:lnTo>
                  <a:lnTo>
                    <a:pt x="2" y="2127"/>
                  </a:lnTo>
                  <a:lnTo>
                    <a:pt x="0" y="2171"/>
                  </a:lnTo>
                  <a:lnTo>
                    <a:pt x="9" y="2198"/>
                  </a:lnTo>
                  <a:lnTo>
                    <a:pt x="22" y="2213"/>
                  </a:lnTo>
                  <a:lnTo>
                    <a:pt x="35" y="2229"/>
                  </a:lnTo>
                  <a:lnTo>
                    <a:pt x="49" y="2243"/>
                  </a:lnTo>
                  <a:lnTo>
                    <a:pt x="65" y="2257"/>
                  </a:lnTo>
                  <a:lnTo>
                    <a:pt x="81" y="2271"/>
                  </a:lnTo>
                  <a:lnTo>
                    <a:pt x="98" y="2286"/>
                  </a:lnTo>
                  <a:lnTo>
                    <a:pt x="116" y="2301"/>
                  </a:lnTo>
                  <a:lnTo>
                    <a:pt x="136" y="2318"/>
                  </a:lnTo>
                  <a:lnTo>
                    <a:pt x="153" y="2331"/>
                  </a:lnTo>
                  <a:lnTo>
                    <a:pt x="171" y="2343"/>
                  </a:lnTo>
                  <a:lnTo>
                    <a:pt x="187" y="2352"/>
                  </a:lnTo>
                  <a:lnTo>
                    <a:pt x="204" y="2360"/>
                  </a:lnTo>
                  <a:lnTo>
                    <a:pt x="221" y="2362"/>
                  </a:lnTo>
                  <a:lnTo>
                    <a:pt x="243" y="2362"/>
                  </a:lnTo>
                  <a:lnTo>
                    <a:pt x="268" y="2359"/>
                  </a:lnTo>
                  <a:lnTo>
                    <a:pt x="298" y="2352"/>
                  </a:lnTo>
                  <a:lnTo>
                    <a:pt x="326" y="2341"/>
                  </a:lnTo>
                  <a:lnTo>
                    <a:pt x="350" y="2333"/>
                  </a:lnTo>
                  <a:lnTo>
                    <a:pt x="372" y="2324"/>
                  </a:lnTo>
                  <a:lnTo>
                    <a:pt x="392" y="2321"/>
                  </a:lnTo>
                  <a:lnTo>
                    <a:pt x="410" y="2318"/>
                  </a:lnTo>
                  <a:lnTo>
                    <a:pt x="431" y="2320"/>
                  </a:lnTo>
                  <a:lnTo>
                    <a:pt x="456" y="2324"/>
                  </a:lnTo>
                  <a:lnTo>
                    <a:pt x="486" y="2336"/>
                  </a:lnTo>
                  <a:lnTo>
                    <a:pt x="520" y="2347"/>
                  </a:lnTo>
                  <a:lnTo>
                    <a:pt x="560" y="2362"/>
                  </a:lnTo>
                  <a:lnTo>
                    <a:pt x="604" y="2373"/>
                  </a:lnTo>
                  <a:lnTo>
                    <a:pt x="647" y="2385"/>
                  </a:lnTo>
                  <a:lnTo>
                    <a:pt x="687" y="2392"/>
                  </a:lnTo>
                  <a:lnTo>
                    <a:pt x="724" y="2396"/>
                  </a:lnTo>
                  <a:lnTo>
                    <a:pt x="754" y="2393"/>
                  </a:lnTo>
                  <a:lnTo>
                    <a:pt x="776" y="2386"/>
                  </a:lnTo>
                  <a:lnTo>
                    <a:pt x="795" y="2372"/>
                  </a:lnTo>
                  <a:lnTo>
                    <a:pt x="823" y="2357"/>
                  </a:lnTo>
                  <a:lnTo>
                    <a:pt x="855" y="2341"/>
                  </a:lnTo>
                  <a:lnTo>
                    <a:pt x="890" y="2325"/>
                  </a:lnTo>
                  <a:lnTo>
                    <a:pt x="923" y="2308"/>
                  </a:lnTo>
                  <a:lnTo>
                    <a:pt x="957" y="2294"/>
                  </a:lnTo>
                  <a:lnTo>
                    <a:pt x="984" y="2279"/>
                  </a:lnTo>
                  <a:lnTo>
                    <a:pt x="1006" y="2266"/>
                  </a:lnTo>
                  <a:lnTo>
                    <a:pt x="1022" y="2249"/>
                  </a:lnTo>
                  <a:lnTo>
                    <a:pt x="1042" y="2226"/>
                  </a:lnTo>
                  <a:lnTo>
                    <a:pt x="1061" y="2198"/>
                  </a:lnTo>
                  <a:lnTo>
                    <a:pt x="1080" y="2169"/>
                  </a:lnTo>
                  <a:lnTo>
                    <a:pt x="1094" y="2136"/>
                  </a:lnTo>
                  <a:lnTo>
                    <a:pt x="1104" y="2106"/>
                  </a:lnTo>
                  <a:lnTo>
                    <a:pt x="1110" y="2077"/>
                  </a:lnTo>
                  <a:lnTo>
                    <a:pt x="1109" y="2054"/>
                  </a:lnTo>
                  <a:lnTo>
                    <a:pt x="1100" y="2025"/>
                  </a:lnTo>
                  <a:lnTo>
                    <a:pt x="1090" y="1987"/>
                  </a:lnTo>
                  <a:lnTo>
                    <a:pt x="1077" y="1942"/>
                  </a:lnTo>
                  <a:lnTo>
                    <a:pt x="1065" y="1897"/>
                  </a:lnTo>
                  <a:lnTo>
                    <a:pt x="1052" y="1851"/>
                  </a:lnTo>
                  <a:lnTo>
                    <a:pt x="1041" y="1811"/>
                  </a:lnTo>
                  <a:lnTo>
                    <a:pt x="1030" y="1776"/>
                  </a:lnTo>
                  <a:lnTo>
                    <a:pt x="1023" y="1756"/>
                  </a:lnTo>
                  <a:lnTo>
                    <a:pt x="1013" y="1728"/>
                  </a:lnTo>
                  <a:lnTo>
                    <a:pt x="999" y="1686"/>
                  </a:lnTo>
                  <a:lnTo>
                    <a:pt x="980" y="1631"/>
                  </a:lnTo>
                  <a:lnTo>
                    <a:pt x="961" y="1569"/>
                  </a:lnTo>
                  <a:lnTo>
                    <a:pt x="941" y="1501"/>
                  </a:lnTo>
                  <a:lnTo>
                    <a:pt x="922" y="1433"/>
                  </a:lnTo>
                  <a:lnTo>
                    <a:pt x="906" y="1368"/>
                  </a:lnTo>
                  <a:lnTo>
                    <a:pt x="896" y="1313"/>
                  </a:lnTo>
                  <a:lnTo>
                    <a:pt x="883" y="1249"/>
                  </a:lnTo>
                  <a:lnTo>
                    <a:pt x="871" y="1171"/>
                  </a:lnTo>
                  <a:lnTo>
                    <a:pt x="855" y="1080"/>
                  </a:lnTo>
                  <a:lnTo>
                    <a:pt x="842" y="988"/>
                  </a:lnTo>
                  <a:lnTo>
                    <a:pt x="829" y="895"/>
                  </a:lnTo>
                  <a:lnTo>
                    <a:pt x="819" y="811"/>
                  </a:lnTo>
                  <a:lnTo>
                    <a:pt x="812" y="740"/>
                  </a:lnTo>
                  <a:lnTo>
                    <a:pt x="810" y="691"/>
                  </a:lnTo>
                  <a:lnTo>
                    <a:pt x="809" y="648"/>
                  </a:lnTo>
                  <a:lnTo>
                    <a:pt x="808" y="601"/>
                  </a:lnTo>
                  <a:lnTo>
                    <a:pt x="805" y="549"/>
                  </a:lnTo>
                  <a:lnTo>
                    <a:pt x="802" y="499"/>
                  </a:lnTo>
                  <a:lnTo>
                    <a:pt x="799" y="447"/>
                  </a:lnTo>
                  <a:lnTo>
                    <a:pt x="799" y="399"/>
                  </a:lnTo>
                  <a:lnTo>
                    <a:pt x="799" y="354"/>
                  </a:lnTo>
                  <a:lnTo>
                    <a:pt x="802" y="317"/>
                  </a:lnTo>
                  <a:lnTo>
                    <a:pt x="803" y="272"/>
                  </a:lnTo>
                  <a:lnTo>
                    <a:pt x="805" y="220"/>
                  </a:lnTo>
                  <a:lnTo>
                    <a:pt x="805" y="160"/>
                  </a:lnTo>
                  <a:lnTo>
                    <a:pt x="803" y="104"/>
                  </a:lnTo>
                  <a:lnTo>
                    <a:pt x="797" y="53"/>
                  </a:lnTo>
                  <a:lnTo>
                    <a:pt x="792" y="17"/>
                  </a:lnTo>
                  <a:lnTo>
                    <a:pt x="780" y="0"/>
                  </a:lnTo>
                  <a:lnTo>
                    <a:pt x="767" y="10"/>
                  </a:lnTo>
                  <a:lnTo>
                    <a:pt x="748" y="39"/>
                  </a:lnTo>
                  <a:lnTo>
                    <a:pt x="729" y="82"/>
                  </a:lnTo>
                  <a:lnTo>
                    <a:pt x="708" y="133"/>
                  </a:lnTo>
                  <a:lnTo>
                    <a:pt x="689" y="186"/>
                  </a:lnTo>
                  <a:lnTo>
                    <a:pt x="670" y="236"/>
                  </a:lnTo>
                  <a:lnTo>
                    <a:pt x="657" y="279"/>
                  </a:lnTo>
                  <a:lnTo>
                    <a:pt x="647" y="309"/>
                  </a:lnTo>
                  <a:lnTo>
                    <a:pt x="644" y="321"/>
                  </a:lnTo>
                  <a:close/>
                </a:path>
              </a:pathLst>
            </a:custGeom>
            <a:solidFill>
              <a:srgbClr val="FFCFB3"/>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64" name="Freeform 20"/>
            <p:cNvSpPr>
              <a:spLocks/>
            </p:cNvSpPr>
            <p:nvPr/>
          </p:nvSpPr>
          <p:spPr bwMode="auto">
            <a:xfrm>
              <a:off x="2898" y="1028"/>
              <a:ext cx="143" cy="710"/>
            </a:xfrm>
            <a:custGeom>
              <a:avLst/>
              <a:gdLst/>
              <a:ahLst/>
              <a:cxnLst>
                <a:cxn ang="0">
                  <a:pos x="70" y="608"/>
                </a:cxn>
                <a:cxn ang="0">
                  <a:pos x="109" y="818"/>
                </a:cxn>
                <a:cxn ang="0">
                  <a:pos x="141" y="1032"/>
                </a:cxn>
                <a:cxn ang="0">
                  <a:pos x="175" y="1243"/>
                </a:cxn>
                <a:cxn ang="0">
                  <a:pos x="209" y="1399"/>
                </a:cxn>
                <a:cxn ang="0">
                  <a:pos x="249" y="1497"/>
                </a:cxn>
                <a:cxn ang="0">
                  <a:pos x="304" y="1590"/>
                </a:cxn>
                <a:cxn ang="0">
                  <a:pos x="362" y="1681"/>
                </a:cxn>
                <a:cxn ang="0">
                  <a:pos x="395" y="1765"/>
                </a:cxn>
                <a:cxn ang="0">
                  <a:pos x="414" y="1843"/>
                </a:cxn>
                <a:cxn ang="0">
                  <a:pos x="429" y="1920"/>
                </a:cxn>
                <a:cxn ang="0">
                  <a:pos x="420" y="1995"/>
                </a:cxn>
                <a:cxn ang="0">
                  <a:pos x="389" y="2041"/>
                </a:cxn>
                <a:cxn ang="0">
                  <a:pos x="363" y="2061"/>
                </a:cxn>
                <a:cxn ang="0">
                  <a:pos x="339" y="2083"/>
                </a:cxn>
                <a:cxn ang="0">
                  <a:pos x="311" y="2100"/>
                </a:cxn>
                <a:cxn ang="0">
                  <a:pos x="285" y="2129"/>
                </a:cxn>
                <a:cxn ang="0">
                  <a:pos x="281" y="2116"/>
                </a:cxn>
                <a:cxn ang="0">
                  <a:pos x="281" y="2099"/>
                </a:cxn>
                <a:cxn ang="0">
                  <a:pos x="314" y="2073"/>
                </a:cxn>
                <a:cxn ang="0">
                  <a:pos x="350" y="2045"/>
                </a:cxn>
                <a:cxn ang="0">
                  <a:pos x="381" y="2014"/>
                </a:cxn>
                <a:cxn ang="0">
                  <a:pos x="403" y="1976"/>
                </a:cxn>
                <a:cxn ang="0">
                  <a:pos x="394" y="1875"/>
                </a:cxn>
                <a:cxn ang="0">
                  <a:pos x="375" y="1776"/>
                </a:cxn>
                <a:cxn ang="0">
                  <a:pos x="336" y="1687"/>
                </a:cxn>
                <a:cxn ang="0">
                  <a:pos x="268" y="1613"/>
                </a:cxn>
                <a:cxn ang="0">
                  <a:pos x="274" y="1697"/>
                </a:cxn>
                <a:cxn ang="0">
                  <a:pos x="281" y="1787"/>
                </a:cxn>
                <a:cxn ang="0">
                  <a:pos x="277" y="1875"/>
                </a:cxn>
                <a:cxn ang="0">
                  <a:pos x="251" y="1956"/>
                </a:cxn>
                <a:cxn ang="0">
                  <a:pos x="255" y="1902"/>
                </a:cxn>
                <a:cxn ang="0">
                  <a:pos x="262" y="1814"/>
                </a:cxn>
                <a:cxn ang="0">
                  <a:pos x="252" y="1726"/>
                </a:cxn>
                <a:cxn ang="0">
                  <a:pos x="236" y="1639"/>
                </a:cxn>
                <a:cxn ang="0">
                  <a:pos x="217" y="1575"/>
                </a:cxn>
                <a:cxn ang="0">
                  <a:pos x="204" y="1531"/>
                </a:cxn>
                <a:cxn ang="0">
                  <a:pos x="197" y="1483"/>
                </a:cxn>
                <a:cxn ang="0">
                  <a:pos x="188" y="1437"/>
                </a:cxn>
                <a:cxn ang="0">
                  <a:pos x="170" y="1348"/>
                </a:cxn>
                <a:cxn ang="0">
                  <a:pos x="142" y="1215"/>
                </a:cxn>
                <a:cxn ang="0">
                  <a:pos x="115" y="1084"/>
                </a:cxn>
                <a:cxn ang="0">
                  <a:pos x="91" y="949"/>
                </a:cxn>
                <a:cxn ang="0">
                  <a:pos x="65" y="832"/>
                </a:cxn>
                <a:cxn ang="0">
                  <a:pos x="51" y="729"/>
                </a:cxn>
                <a:cxn ang="0">
                  <a:pos x="49" y="624"/>
                </a:cxn>
                <a:cxn ang="0">
                  <a:pos x="36" y="520"/>
                </a:cxn>
                <a:cxn ang="0">
                  <a:pos x="16" y="415"/>
                </a:cxn>
                <a:cxn ang="0">
                  <a:pos x="3" y="297"/>
                </a:cxn>
                <a:cxn ang="0">
                  <a:pos x="0" y="178"/>
                </a:cxn>
                <a:cxn ang="0">
                  <a:pos x="28" y="68"/>
                </a:cxn>
                <a:cxn ang="0">
                  <a:pos x="65" y="12"/>
                </a:cxn>
                <a:cxn ang="0">
                  <a:pos x="81" y="3"/>
                </a:cxn>
                <a:cxn ang="0">
                  <a:pos x="54" y="55"/>
                </a:cxn>
                <a:cxn ang="0">
                  <a:pos x="20" y="180"/>
                </a:cxn>
                <a:cxn ang="0">
                  <a:pos x="22" y="310"/>
                </a:cxn>
                <a:cxn ang="0">
                  <a:pos x="38" y="440"/>
                </a:cxn>
              </a:cxnLst>
              <a:rect l="0" t="0" r="r" b="b"/>
              <a:pathLst>
                <a:path w="429" h="2129">
                  <a:moveTo>
                    <a:pt x="47" y="505"/>
                  </a:moveTo>
                  <a:lnTo>
                    <a:pt x="70" y="608"/>
                  </a:lnTo>
                  <a:lnTo>
                    <a:pt x="91" y="712"/>
                  </a:lnTo>
                  <a:lnTo>
                    <a:pt x="109" y="818"/>
                  </a:lnTo>
                  <a:lnTo>
                    <a:pt x="126" y="926"/>
                  </a:lnTo>
                  <a:lnTo>
                    <a:pt x="141" y="1032"/>
                  </a:lnTo>
                  <a:lnTo>
                    <a:pt x="158" y="1139"/>
                  </a:lnTo>
                  <a:lnTo>
                    <a:pt x="175" y="1243"/>
                  </a:lnTo>
                  <a:lnTo>
                    <a:pt x="197" y="1348"/>
                  </a:lnTo>
                  <a:lnTo>
                    <a:pt x="209" y="1399"/>
                  </a:lnTo>
                  <a:lnTo>
                    <a:pt x="227" y="1450"/>
                  </a:lnTo>
                  <a:lnTo>
                    <a:pt x="249" y="1497"/>
                  </a:lnTo>
                  <a:lnTo>
                    <a:pt x="277" y="1545"/>
                  </a:lnTo>
                  <a:lnTo>
                    <a:pt x="304" y="1590"/>
                  </a:lnTo>
                  <a:lnTo>
                    <a:pt x="333" y="1636"/>
                  </a:lnTo>
                  <a:lnTo>
                    <a:pt x="362" y="1681"/>
                  </a:lnTo>
                  <a:lnTo>
                    <a:pt x="391" y="1729"/>
                  </a:lnTo>
                  <a:lnTo>
                    <a:pt x="395" y="1765"/>
                  </a:lnTo>
                  <a:lnTo>
                    <a:pt x="405" y="1804"/>
                  </a:lnTo>
                  <a:lnTo>
                    <a:pt x="414" y="1843"/>
                  </a:lnTo>
                  <a:lnTo>
                    <a:pt x="424" y="1882"/>
                  </a:lnTo>
                  <a:lnTo>
                    <a:pt x="429" y="1920"/>
                  </a:lnTo>
                  <a:lnTo>
                    <a:pt x="429" y="1957"/>
                  </a:lnTo>
                  <a:lnTo>
                    <a:pt x="420" y="1995"/>
                  </a:lnTo>
                  <a:lnTo>
                    <a:pt x="403" y="2032"/>
                  </a:lnTo>
                  <a:lnTo>
                    <a:pt x="389" y="2041"/>
                  </a:lnTo>
                  <a:lnTo>
                    <a:pt x="376" y="2053"/>
                  </a:lnTo>
                  <a:lnTo>
                    <a:pt x="363" y="2061"/>
                  </a:lnTo>
                  <a:lnTo>
                    <a:pt x="352" y="2073"/>
                  </a:lnTo>
                  <a:lnTo>
                    <a:pt x="339" y="2083"/>
                  </a:lnTo>
                  <a:lnTo>
                    <a:pt x="326" y="2093"/>
                  </a:lnTo>
                  <a:lnTo>
                    <a:pt x="311" y="2100"/>
                  </a:lnTo>
                  <a:lnTo>
                    <a:pt x="298" y="2109"/>
                  </a:lnTo>
                  <a:lnTo>
                    <a:pt x="285" y="2129"/>
                  </a:lnTo>
                  <a:lnTo>
                    <a:pt x="279" y="2124"/>
                  </a:lnTo>
                  <a:lnTo>
                    <a:pt x="281" y="2116"/>
                  </a:lnTo>
                  <a:lnTo>
                    <a:pt x="282" y="2106"/>
                  </a:lnTo>
                  <a:lnTo>
                    <a:pt x="281" y="2099"/>
                  </a:lnTo>
                  <a:lnTo>
                    <a:pt x="297" y="2086"/>
                  </a:lnTo>
                  <a:lnTo>
                    <a:pt x="314" y="2073"/>
                  </a:lnTo>
                  <a:lnTo>
                    <a:pt x="332" y="2058"/>
                  </a:lnTo>
                  <a:lnTo>
                    <a:pt x="350" y="2045"/>
                  </a:lnTo>
                  <a:lnTo>
                    <a:pt x="365" y="2030"/>
                  </a:lnTo>
                  <a:lnTo>
                    <a:pt x="381" y="2014"/>
                  </a:lnTo>
                  <a:lnTo>
                    <a:pt x="392" y="1995"/>
                  </a:lnTo>
                  <a:lnTo>
                    <a:pt x="403" y="1976"/>
                  </a:lnTo>
                  <a:lnTo>
                    <a:pt x="398" y="1925"/>
                  </a:lnTo>
                  <a:lnTo>
                    <a:pt x="394" y="1875"/>
                  </a:lnTo>
                  <a:lnTo>
                    <a:pt x="385" y="1824"/>
                  </a:lnTo>
                  <a:lnTo>
                    <a:pt x="375" y="1776"/>
                  </a:lnTo>
                  <a:lnTo>
                    <a:pt x="358" y="1729"/>
                  </a:lnTo>
                  <a:lnTo>
                    <a:pt x="336" y="1687"/>
                  </a:lnTo>
                  <a:lnTo>
                    <a:pt x="306" y="1648"/>
                  </a:lnTo>
                  <a:lnTo>
                    <a:pt x="268" y="1613"/>
                  </a:lnTo>
                  <a:lnTo>
                    <a:pt x="269" y="1653"/>
                  </a:lnTo>
                  <a:lnTo>
                    <a:pt x="274" y="1697"/>
                  </a:lnTo>
                  <a:lnTo>
                    <a:pt x="277" y="1740"/>
                  </a:lnTo>
                  <a:lnTo>
                    <a:pt x="281" y="1787"/>
                  </a:lnTo>
                  <a:lnTo>
                    <a:pt x="279" y="1830"/>
                  </a:lnTo>
                  <a:lnTo>
                    <a:pt x="277" y="1875"/>
                  </a:lnTo>
                  <a:lnTo>
                    <a:pt x="266" y="1917"/>
                  </a:lnTo>
                  <a:lnTo>
                    <a:pt x="251" y="1956"/>
                  </a:lnTo>
                  <a:lnTo>
                    <a:pt x="243" y="1946"/>
                  </a:lnTo>
                  <a:lnTo>
                    <a:pt x="255" y="1902"/>
                  </a:lnTo>
                  <a:lnTo>
                    <a:pt x="262" y="1859"/>
                  </a:lnTo>
                  <a:lnTo>
                    <a:pt x="262" y="1814"/>
                  </a:lnTo>
                  <a:lnTo>
                    <a:pt x="261" y="1771"/>
                  </a:lnTo>
                  <a:lnTo>
                    <a:pt x="252" y="1726"/>
                  </a:lnTo>
                  <a:lnTo>
                    <a:pt x="245" y="1682"/>
                  </a:lnTo>
                  <a:lnTo>
                    <a:pt x="236" y="1639"/>
                  </a:lnTo>
                  <a:lnTo>
                    <a:pt x="229" y="1597"/>
                  </a:lnTo>
                  <a:lnTo>
                    <a:pt x="217" y="1575"/>
                  </a:lnTo>
                  <a:lnTo>
                    <a:pt x="210" y="1554"/>
                  </a:lnTo>
                  <a:lnTo>
                    <a:pt x="204" y="1531"/>
                  </a:lnTo>
                  <a:lnTo>
                    <a:pt x="201" y="1507"/>
                  </a:lnTo>
                  <a:lnTo>
                    <a:pt x="197" y="1483"/>
                  </a:lnTo>
                  <a:lnTo>
                    <a:pt x="194" y="1460"/>
                  </a:lnTo>
                  <a:lnTo>
                    <a:pt x="188" y="1437"/>
                  </a:lnTo>
                  <a:lnTo>
                    <a:pt x="183" y="1416"/>
                  </a:lnTo>
                  <a:lnTo>
                    <a:pt x="170" y="1348"/>
                  </a:lnTo>
                  <a:lnTo>
                    <a:pt x="156" y="1282"/>
                  </a:lnTo>
                  <a:lnTo>
                    <a:pt x="142" y="1215"/>
                  </a:lnTo>
                  <a:lnTo>
                    <a:pt x="129" y="1150"/>
                  </a:lnTo>
                  <a:lnTo>
                    <a:pt x="115" y="1084"/>
                  </a:lnTo>
                  <a:lnTo>
                    <a:pt x="102" y="1017"/>
                  </a:lnTo>
                  <a:lnTo>
                    <a:pt x="91" y="949"/>
                  </a:lnTo>
                  <a:lnTo>
                    <a:pt x="84" y="883"/>
                  </a:lnTo>
                  <a:lnTo>
                    <a:pt x="65" y="832"/>
                  </a:lnTo>
                  <a:lnTo>
                    <a:pt x="55" y="781"/>
                  </a:lnTo>
                  <a:lnTo>
                    <a:pt x="51" y="729"/>
                  </a:lnTo>
                  <a:lnTo>
                    <a:pt x="51" y="677"/>
                  </a:lnTo>
                  <a:lnTo>
                    <a:pt x="49" y="624"/>
                  </a:lnTo>
                  <a:lnTo>
                    <a:pt x="47" y="572"/>
                  </a:lnTo>
                  <a:lnTo>
                    <a:pt x="36" y="520"/>
                  </a:lnTo>
                  <a:lnTo>
                    <a:pt x="19" y="472"/>
                  </a:lnTo>
                  <a:lnTo>
                    <a:pt x="16" y="415"/>
                  </a:lnTo>
                  <a:lnTo>
                    <a:pt x="10" y="358"/>
                  </a:lnTo>
                  <a:lnTo>
                    <a:pt x="3" y="297"/>
                  </a:lnTo>
                  <a:lnTo>
                    <a:pt x="0" y="239"/>
                  </a:lnTo>
                  <a:lnTo>
                    <a:pt x="0" y="178"/>
                  </a:lnTo>
                  <a:lnTo>
                    <a:pt x="10" y="123"/>
                  </a:lnTo>
                  <a:lnTo>
                    <a:pt x="28" y="68"/>
                  </a:lnTo>
                  <a:lnTo>
                    <a:pt x="60" y="21"/>
                  </a:lnTo>
                  <a:lnTo>
                    <a:pt x="65" y="12"/>
                  </a:lnTo>
                  <a:lnTo>
                    <a:pt x="73" y="8"/>
                  </a:lnTo>
                  <a:lnTo>
                    <a:pt x="81" y="3"/>
                  </a:lnTo>
                  <a:lnTo>
                    <a:pt x="90" y="0"/>
                  </a:lnTo>
                  <a:lnTo>
                    <a:pt x="54" y="55"/>
                  </a:lnTo>
                  <a:lnTo>
                    <a:pt x="32" y="116"/>
                  </a:lnTo>
                  <a:lnTo>
                    <a:pt x="20" y="180"/>
                  </a:lnTo>
                  <a:lnTo>
                    <a:pt x="19" y="245"/>
                  </a:lnTo>
                  <a:lnTo>
                    <a:pt x="22" y="310"/>
                  </a:lnTo>
                  <a:lnTo>
                    <a:pt x="29" y="376"/>
                  </a:lnTo>
                  <a:lnTo>
                    <a:pt x="38" y="440"/>
                  </a:lnTo>
                  <a:lnTo>
                    <a:pt x="47" y="505"/>
                  </a:lnTo>
                  <a:close/>
                </a:path>
              </a:pathLst>
            </a:custGeom>
            <a:solidFill>
              <a:srgbClr val="000000"/>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65" name="Freeform 21"/>
            <p:cNvSpPr>
              <a:spLocks/>
            </p:cNvSpPr>
            <p:nvPr/>
          </p:nvSpPr>
          <p:spPr bwMode="auto">
            <a:xfrm>
              <a:off x="2674" y="1544"/>
              <a:ext cx="121" cy="211"/>
            </a:xfrm>
            <a:custGeom>
              <a:avLst/>
              <a:gdLst/>
              <a:ahLst/>
              <a:cxnLst>
                <a:cxn ang="0">
                  <a:pos x="350" y="37"/>
                </a:cxn>
                <a:cxn ang="0">
                  <a:pos x="323" y="25"/>
                </a:cxn>
                <a:cxn ang="0">
                  <a:pos x="295" y="16"/>
                </a:cxn>
                <a:cxn ang="0">
                  <a:pos x="266" y="16"/>
                </a:cxn>
                <a:cxn ang="0">
                  <a:pos x="233" y="38"/>
                </a:cxn>
                <a:cxn ang="0">
                  <a:pos x="195" y="63"/>
                </a:cxn>
                <a:cxn ang="0">
                  <a:pos x="153" y="84"/>
                </a:cxn>
                <a:cxn ang="0">
                  <a:pos x="116" y="113"/>
                </a:cxn>
                <a:cxn ang="0">
                  <a:pos x="85" y="170"/>
                </a:cxn>
                <a:cxn ang="0">
                  <a:pos x="64" y="249"/>
                </a:cxn>
                <a:cxn ang="0">
                  <a:pos x="49" y="332"/>
                </a:cxn>
                <a:cxn ang="0">
                  <a:pos x="32" y="413"/>
                </a:cxn>
                <a:cxn ang="0">
                  <a:pos x="32" y="483"/>
                </a:cxn>
                <a:cxn ang="0">
                  <a:pos x="72" y="527"/>
                </a:cxn>
                <a:cxn ang="0">
                  <a:pos x="126" y="560"/>
                </a:cxn>
                <a:cxn ang="0">
                  <a:pos x="172" y="602"/>
                </a:cxn>
                <a:cxn ang="0">
                  <a:pos x="176" y="625"/>
                </a:cxn>
                <a:cxn ang="0">
                  <a:pos x="159" y="605"/>
                </a:cxn>
                <a:cxn ang="0">
                  <a:pos x="130" y="582"/>
                </a:cxn>
                <a:cxn ang="0">
                  <a:pos x="90" y="562"/>
                </a:cxn>
                <a:cxn ang="0">
                  <a:pos x="52" y="541"/>
                </a:cxn>
                <a:cxn ang="0">
                  <a:pos x="22" y="511"/>
                </a:cxn>
                <a:cxn ang="0">
                  <a:pos x="3" y="469"/>
                </a:cxn>
                <a:cxn ang="0">
                  <a:pos x="0" y="430"/>
                </a:cxn>
                <a:cxn ang="0">
                  <a:pos x="7" y="391"/>
                </a:cxn>
                <a:cxn ang="0">
                  <a:pos x="14" y="353"/>
                </a:cxn>
                <a:cxn ang="0">
                  <a:pos x="17" y="317"/>
                </a:cxn>
                <a:cxn ang="0">
                  <a:pos x="23" y="281"/>
                </a:cxn>
                <a:cxn ang="0">
                  <a:pos x="32" y="245"/>
                </a:cxn>
                <a:cxn ang="0">
                  <a:pos x="40" y="210"/>
                </a:cxn>
                <a:cxn ang="0">
                  <a:pos x="53" y="161"/>
                </a:cxn>
                <a:cxn ang="0">
                  <a:pos x="85" y="107"/>
                </a:cxn>
                <a:cxn ang="0">
                  <a:pos x="133" y="67"/>
                </a:cxn>
                <a:cxn ang="0">
                  <a:pos x="189" y="38"/>
                </a:cxn>
                <a:cxn ang="0">
                  <a:pos x="226" y="19"/>
                </a:cxn>
                <a:cxn ang="0">
                  <a:pos x="250" y="3"/>
                </a:cxn>
                <a:cxn ang="0">
                  <a:pos x="279" y="0"/>
                </a:cxn>
                <a:cxn ang="0">
                  <a:pos x="307" y="5"/>
                </a:cxn>
                <a:cxn ang="0">
                  <a:pos x="330" y="18"/>
                </a:cxn>
                <a:cxn ang="0">
                  <a:pos x="351" y="34"/>
                </a:cxn>
              </a:cxnLst>
              <a:rect l="0" t="0" r="r" b="b"/>
              <a:pathLst>
                <a:path w="365" h="631">
                  <a:moveTo>
                    <a:pt x="365" y="42"/>
                  </a:moveTo>
                  <a:lnTo>
                    <a:pt x="350" y="37"/>
                  </a:lnTo>
                  <a:lnTo>
                    <a:pt x="337" y="31"/>
                  </a:lnTo>
                  <a:lnTo>
                    <a:pt x="323" y="25"/>
                  </a:lnTo>
                  <a:lnTo>
                    <a:pt x="310" y="21"/>
                  </a:lnTo>
                  <a:lnTo>
                    <a:pt x="295" y="16"/>
                  </a:lnTo>
                  <a:lnTo>
                    <a:pt x="281" y="15"/>
                  </a:lnTo>
                  <a:lnTo>
                    <a:pt x="266" y="16"/>
                  </a:lnTo>
                  <a:lnTo>
                    <a:pt x="252" y="24"/>
                  </a:lnTo>
                  <a:lnTo>
                    <a:pt x="233" y="38"/>
                  </a:lnTo>
                  <a:lnTo>
                    <a:pt x="215" y="51"/>
                  </a:lnTo>
                  <a:lnTo>
                    <a:pt x="195" y="63"/>
                  </a:lnTo>
                  <a:lnTo>
                    <a:pt x="175" y="74"/>
                  </a:lnTo>
                  <a:lnTo>
                    <a:pt x="153" y="84"/>
                  </a:lnTo>
                  <a:lnTo>
                    <a:pt x="134" y="97"/>
                  </a:lnTo>
                  <a:lnTo>
                    <a:pt x="116" y="113"/>
                  </a:lnTo>
                  <a:lnTo>
                    <a:pt x="101" y="133"/>
                  </a:lnTo>
                  <a:lnTo>
                    <a:pt x="85" y="170"/>
                  </a:lnTo>
                  <a:lnTo>
                    <a:pt x="74" y="210"/>
                  </a:lnTo>
                  <a:lnTo>
                    <a:pt x="64" y="249"/>
                  </a:lnTo>
                  <a:lnTo>
                    <a:pt x="58" y="291"/>
                  </a:lnTo>
                  <a:lnTo>
                    <a:pt x="49" y="332"/>
                  </a:lnTo>
                  <a:lnTo>
                    <a:pt x="42" y="372"/>
                  </a:lnTo>
                  <a:lnTo>
                    <a:pt x="32" y="413"/>
                  </a:lnTo>
                  <a:lnTo>
                    <a:pt x="23" y="453"/>
                  </a:lnTo>
                  <a:lnTo>
                    <a:pt x="32" y="483"/>
                  </a:lnTo>
                  <a:lnTo>
                    <a:pt x="50" y="508"/>
                  </a:lnTo>
                  <a:lnTo>
                    <a:pt x="72" y="527"/>
                  </a:lnTo>
                  <a:lnTo>
                    <a:pt x="100" y="546"/>
                  </a:lnTo>
                  <a:lnTo>
                    <a:pt x="126" y="560"/>
                  </a:lnTo>
                  <a:lnTo>
                    <a:pt x="152" y="579"/>
                  </a:lnTo>
                  <a:lnTo>
                    <a:pt x="172" y="602"/>
                  </a:lnTo>
                  <a:lnTo>
                    <a:pt x="188" y="631"/>
                  </a:lnTo>
                  <a:lnTo>
                    <a:pt x="176" y="625"/>
                  </a:lnTo>
                  <a:lnTo>
                    <a:pt x="168" y="616"/>
                  </a:lnTo>
                  <a:lnTo>
                    <a:pt x="159" y="605"/>
                  </a:lnTo>
                  <a:lnTo>
                    <a:pt x="150" y="596"/>
                  </a:lnTo>
                  <a:lnTo>
                    <a:pt x="130" y="582"/>
                  </a:lnTo>
                  <a:lnTo>
                    <a:pt x="111" y="572"/>
                  </a:lnTo>
                  <a:lnTo>
                    <a:pt x="90" y="562"/>
                  </a:lnTo>
                  <a:lnTo>
                    <a:pt x="72" y="553"/>
                  </a:lnTo>
                  <a:lnTo>
                    <a:pt x="52" y="541"/>
                  </a:lnTo>
                  <a:lnTo>
                    <a:pt x="36" y="528"/>
                  </a:lnTo>
                  <a:lnTo>
                    <a:pt x="22" y="511"/>
                  </a:lnTo>
                  <a:lnTo>
                    <a:pt x="13" y="489"/>
                  </a:lnTo>
                  <a:lnTo>
                    <a:pt x="3" y="469"/>
                  </a:lnTo>
                  <a:lnTo>
                    <a:pt x="0" y="450"/>
                  </a:lnTo>
                  <a:lnTo>
                    <a:pt x="0" y="430"/>
                  </a:lnTo>
                  <a:lnTo>
                    <a:pt x="4" y="411"/>
                  </a:lnTo>
                  <a:lnTo>
                    <a:pt x="7" y="391"/>
                  </a:lnTo>
                  <a:lnTo>
                    <a:pt x="11" y="372"/>
                  </a:lnTo>
                  <a:lnTo>
                    <a:pt x="14" y="353"/>
                  </a:lnTo>
                  <a:lnTo>
                    <a:pt x="14" y="336"/>
                  </a:lnTo>
                  <a:lnTo>
                    <a:pt x="17" y="317"/>
                  </a:lnTo>
                  <a:lnTo>
                    <a:pt x="20" y="298"/>
                  </a:lnTo>
                  <a:lnTo>
                    <a:pt x="23" y="281"/>
                  </a:lnTo>
                  <a:lnTo>
                    <a:pt x="27" y="264"/>
                  </a:lnTo>
                  <a:lnTo>
                    <a:pt x="32" y="245"/>
                  </a:lnTo>
                  <a:lnTo>
                    <a:pt x="36" y="227"/>
                  </a:lnTo>
                  <a:lnTo>
                    <a:pt x="40" y="210"/>
                  </a:lnTo>
                  <a:lnTo>
                    <a:pt x="46" y="193"/>
                  </a:lnTo>
                  <a:lnTo>
                    <a:pt x="53" y="161"/>
                  </a:lnTo>
                  <a:lnTo>
                    <a:pt x="66" y="133"/>
                  </a:lnTo>
                  <a:lnTo>
                    <a:pt x="85" y="107"/>
                  </a:lnTo>
                  <a:lnTo>
                    <a:pt x="108" y="87"/>
                  </a:lnTo>
                  <a:lnTo>
                    <a:pt x="133" y="67"/>
                  </a:lnTo>
                  <a:lnTo>
                    <a:pt x="160" y="51"/>
                  </a:lnTo>
                  <a:lnTo>
                    <a:pt x="189" y="38"/>
                  </a:lnTo>
                  <a:lnTo>
                    <a:pt x="218" y="29"/>
                  </a:lnTo>
                  <a:lnTo>
                    <a:pt x="226" y="19"/>
                  </a:lnTo>
                  <a:lnTo>
                    <a:pt x="237" y="10"/>
                  </a:lnTo>
                  <a:lnTo>
                    <a:pt x="250" y="3"/>
                  </a:lnTo>
                  <a:lnTo>
                    <a:pt x="266" y="2"/>
                  </a:lnTo>
                  <a:lnTo>
                    <a:pt x="279" y="0"/>
                  </a:lnTo>
                  <a:lnTo>
                    <a:pt x="294" y="2"/>
                  </a:lnTo>
                  <a:lnTo>
                    <a:pt x="307" y="5"/>
                  </a:lnTo>
                  <a:lnTo>
                    <a:pt x="320" y="12"/>
                  </a:lnTo>
                  <a:lnTo>
                    <a:pt x="330" y="18"/>
                  </a:lnTo>
                  <a:lnTo>
                    <a:pt x="341" y="26"/>
                  </a:lnTo>
                  <a:lnTo>
                    <a:pt x="351" y="34"/>
                  </a:lnTo>
                  <a:lnTo>
                    <a:pt x="365" y="42"/>
                  </a:lnTo>
                  <a:close/>
                </a:path>
              </a:pathLst>
            </a:custGeom>
            <a:solidFill>
              <a:srgbClr val="000000"/>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66" name="Freeform 22"/>
            <p:cNvSpPr>
              <a:spLocks/>
            </p:cNvSpPr>
            <p:nvPr/>
          </p:nvSpPr>
          <p:spPr bwMode="auto">
            <a:xfrm>
              <a:off x="2716" y="1687"/>
              <a:ext cx="296" cy="109"/>
            </a:xfrm>
            <a:custGeom>
              <a:avLst/>
              <a:gdLst/>
              <a:ahLst/>
              <a:cxnLst>
                <a:cxn ang="0">
                  <a:pos x="461" y="197"/>
                </a:cxn>
                <a:cxn ang="0">
                  <a:pos x="544" y="201"/>
                </a:cxn>
                <a:cxn ang="0">
                  <a:pos x="629" y="197"/>
                </a:cxn>
                <a:cxn ang="0">
                  <a:pos x="725" y="124"/>
                </a:cxn>
                <a:cxn ang="0">
                  <a:pos x="806" y="28"/>
                </a:cxn>
                <a:cxn ang="0">
                  <a:pos x="890" y="13"/>
                </a:cxn>
                <a:cxn ang="0">
                  <a:pos x="871" y="54"/>
                </a:cxn>
                <a:cxn ang="0">
                  <a:pos x="830" y="87"/>
                </a:cxn>
                <a:cxn ang="0">
                  <a:pos x="807" y="104"/>
                </a:cxn>
                <a:cxn ang="0">
                  <a:pos x="799" y="126"/>
                </a:cxn>
                <a:cxn ang="0">
                  <a:pos x="799" y="152"/>
                </a:cxn>
                <a:cxn ang="0">
                  <a:pos x="784" y="122"/>
                </a:cxn>
                <a:cxn ang="0">
                  <a:pos x="800" y="91"/>
                </a:cxn>
                <a:cxn ang="0">
                  <a:pos x="833" y="61"/>
                </a:cxn>
                <a:cxn ang="0">
                  <a:pos x="864" y="29"/>
                </a:cxn>
                <a:cxn ang="0">
                  <a:pos x="775" y="87"/>
                </a:cxn>
                <a:cxn ang="0">
                  <a:pos x="716" y="179"/>
                </a:cxn>
                <a:cxn ang="0">
                  <a:pos x="628" y="224"/>
                </a:cxn>
                <a:cxn ang="0">
                  <a:pos x="557" y="252"/>
                </a:cxn>
                <a:cxn ang="0">
                  <a:pos x="503" y="304"/>
                </a:cxn>
                <a:cxn ang="0">
                  <a:pos x="476" y="327"/>
                </a:cxn>
                <a:cxn ang="0">
                  <a:pos x="487" y="302"/>
                </a:cxn>
                <a:cxn ang="0">
                  <a:pos x="496" y="276"/>
                </a:cxn>
                <a:cxn ang="0">
                  <a:pos x="476" y="244"/>
                </a:cxn>
                <a:cxn ang="0">
                  <a:pos x="412" y="210"/>
                </a:cxn>
                <a:cxn ang="0">
                  <a:pos x="353" y="165"/>
                </a:cxn>
                <a:cxn ang="0">
                  <a:pos x="299" y="107"/>
                </a:cxn>
                <a:cxn ang="0">
                  <a:pos x="239" y="51"/>
                </a:cxn>
                <a:cxn ang="0">
                  <a:pos x="162" y="32"/>
                </a:cxn>
                <a:cxn ang="0">
                  <a:pos x="117" y="41"/>
                </a:cxn>
                <a:cxn ang="0">
                  <a:pos x="75" y="52"/>
                </a:cxn>
                <a:cxn ang="0">
                  <a:pos x="50" y="69"/>
                </a:cxn>
                <a:cxn ang="0">
                  <a:pos x="71" y="80"/>
                </a:cxn>
                <a:cxn ang="0">
                  <a:pos x="95" y="82"/>
                </a:cxn>
                <a:cxn ang="0">
                  <a:pos x="123" y="97"/>
                </a:cxn>
                <a:cxn ang="0">
                  <a:pos x="120" y="107"/>
                </a:cxn>
                <a:cxn ang="0">
                  <a:pos x="63" y="103"/>
                </a:cxn>
                <a:cxn ang="0">
                  <a:pos x="11" y="82"/>
                </a:cxn>
                <a:cxn ang="0">
                  <a:pos x="36" y="33"/>
                </a:cxn>
                <a:cxn ang="0">
                  <a:pos x="111" y="16"/>
                </a:cxn>
                <a:cxn ang="0">
                  <a:pos x="189" y="0"/>
                </a:cxn>
                <a:cxn ang="0">
                  <a:pos x="288" y="42"/>
                </a:cxn>
                <a:cxn ang="0">
                  <a:pos x="357" y="130"/>
                </a:cxn>
              </a:cxnLst>
              <a:rect l="0" t="0" r="r" b="b"/>
              <a:pathLst>
                <a:path w="890" h="328">
                  <a:moveTo>
                    <a:pt x="411" y="182"/>
                  </a:moveTo>
                  <a:lnTo>
                    <a:pt x="435" y="189"/>
                  </a:lnTo>
                  <a:lnTo>
                    <a:pt x="461" y="197"/>
                  </a:lnTo>
                  <a:lnTo>
                    <a:pt x="489" y="200"/>
                  </a:lnTo>
                  <a:lnTo>
                    <a:pt x="516" y="203"/>
                  </a:lnTo>
                  <a:lnTo>
                    <a:pt x="544" y="201"/>
                  </a:lnTo>
                  <a:lnTo>
                    <a:pt x="573" y="201"/>
                  </a:lnTo>
                  <a:lnTo>
                    <a:pt x="600" y="198"/>
                  </a:lnTo>
                  <a:lnTo>
                    <a:pt x="629" y="197"/>
                  </a:lnTo>
                  <a:lnTo>
                    <a:pt x="665" y="181"/>
                  </a:lnTo>
                  <a:lnTo>
                    <a:pt x="699" y="156"/>
                  </a:lnTo>
                  <a:lnTo>
                    <a:pt x="725" y="124"/>
                  </a:lnTo>
                  <a:lnTo>
                    <a:pt x="751" y="91"/>
                  </a:lnTo>
                  <a:lnTo>
                    <a:pt x="775" y="56"/>
                  </a:lnTo>
                  <a:lnTo>
                    <a:pt x="806" y="28"/>
                  </a:lnTo>
                  <a:lnTo>
                    <a:pt x="841" y="7"/>
                  </a:lnTo>
                  <a:lnTo>
                    <a:pt x="885" y="0"/>
                  </a:lnTo>
                  <a:lnTo>
                    <a:pt x="890" y="13"/>
                  </a:lnTo>
                  <a:lnTo>
                    <a:pt x="888" y="28"/>
                  </a:lnTo>
                  <a:lnTo>
                    <a:pt x="881" y="41"/>
                  </a:lnTo>
                  <a:lnTo>
                    <a:pt x="871" y="54"/>
                  </a:lnTo>
                  <a:lnTo>
                    <a:pt x="856" y="65"/>
                  </a:lnTo>
                  <a:lnTo>
                    <a:pt x="843" y="77"/>
                  </a:lnTo>
                  <a:lnTo>
                    <a:pt x="830" y="87"/>
                  </a:lnTo>
                  <a:lnTo>
                    <a:pt x="822" y="98"/>
                  </a:lnTo>
                  <a:lnTo>
                    <a:pt x="814" y="100"/>
                  </a:lnTo>
                  <a:lnTo>
                    <a:pt x="807" y="104"/>
                  </a:lnTo>
                  <a:lnTo>
                    <a:pt x="801" y="110"/>
                  </a:lnTo>
                  <a:lnTo>
                    <a:pt x="800" y="119"/>
                  </a:lnTo>
                  <a:lnTo>
                    <a:pt x="799" y="126"/>
                  </a:lnTo>
                  <a:lnTo>
                    <a:pt x="800" y="135"/>
                  </a:lnTo>
                  <a:lnTo>
                    <a:pt x="799" y="143"/>
                  </a:lnTo>
                  <a:lnTo>
                    <a:pt x="799" y="152"/>
                  </a:lnTo>
                  <a:lnTo>
                    <a:pt x="787" y="145"/>
                  </a:lnTo>
                  <a:lnTo>
                    <a:pt x="786" y="133"/>
                  </a:lnTo>
                  <a:lnTo>
                    <a:pt x="784" y="122"/>
                  </a:lnTo>
                  <a:lnTo>
                    <a:pt x="783" y="111"/>
                  </a:lnTo>
                  <a:lnTo>
                    <a:pt x="790" y="101"/>
                  </a:lnTo>
                  <a:lnTo>
                    <a:pt x="800" y="91"/>
                  </a:lnTo>
                  <a:lnTo>
                    <a:pt x="810" y="81"/>
                  </a:lnTo>
                  <a:lnTo>
                    <a:pt x="823" y="72"/>
                  </a:lnTo>
                  <a:lnTo>
                    <a:pt x="833" y="61"/>
                  </a:lnTo>
                  <a:lnTo>
                    <a:pt x="843" y="51"/>
                  </a:lnTo>
                  <a:lnTo>
                    <a:pt x="854" y="39"/>
                  </a:lnTo>
                  <a:lnTo>
                    <a:pt x="864" y="29"/>
                  </a:lnTo>
                  <a:lnTo>
                    <a:pt x="826" y="39"/>
                  </a:lnTo>
                  <a:lnTo>
                    <a:pt x="799" y="59"/>
                  </a:lnTo>
                  <a:lnTo>
                    <a:pt x="775" y="87"/>
                  </a:lnTo>
                  <a:lnTo>
                    <a:pt x="758" y="119"/>
                  </a:lnTo>
                  <a:lnTo>
                    <a:pt x="738" y="149"/>
                  </a:lnTo>
                  <a:lnTo>
                    <a:pt x="716" y="179"/>
                  </a:lnTo>
                  <a:lnTo>
                    <a:pt x="689" y="204"/>
                  </a:lnTo>
                  <a:lnTo>
                    <a:pt x="654" y="221"/>
                  </a:lnTo>
                  <a:lnTo>
                    <a:pt x="628" y="224"/>
                  </a:lnTo>
                  <a:lnTo>
                    <a:pt x="603" y="230"/>
                  </a:lnTo>
                  <a:lnTo>
                    <a:pt x="579" y="239"/>
                  </a:lnTo>
                  <a:lnTo>
                    <a:pt x="557" y="252"/>
                  </a:lnTo>
                  <a:lnTo>
                    <a:pt x="535" y="266"/>
                  </a:lnTo>
                  <a:lnTo>
                    <a:pt x="518" y="284"/>
                  </a:lnTo>
                  <a:lnTo>
                    <a:pt x="503" y="304"/>
                  </a:lnTo>
                  <a:lnTo>
                    <a:pt x="493" y="328"/>
                  </a:lnTo>
                  <a:lnTo>
                    <a:pt x="483" y="328"/>
                  </a:lnTo>
                  <a:lnTo>
                    <a:pt x="476" y="327"/>
                  </a:lnTo>
                  <a:lnTo>
                    <a:pt x="479" y="318"/>
                  </a:lnTo>
                  <a:lnTo>
                    <a:pt x="483" y="311"/>
                  </a:lnTo>
                  <a:lnTo>
                    <a:pt x="487" y="302"/>
                  </a:lnTo>
                  <a:lnTo>
                    <a:pt x="492" y="295"/>
                  </a:lnTo>
                  <a:lnTo>
                    <a:pt x="495" y="285"/>
                  </a:lnTo>
                  <a:lnTo>
                    <a:pt x="496" y="276"/>
                  </a:lnTo>
                  <a:lnTo>
                    <a:pt x="496" y="268"/>
                  </a:lnTo>
                  <a:lnTo>
                    <a:pt x="496" y="259"/>
                  </a:lnTo>
                  <a:lnTo>
                    <a:pt x="476" y="244"/>
                  </a:lnTo>
                  <a:lnTo>
                    <a:pt x="456" y="231"/>
                  </a:lnTo>
                  <a:lnTo>
                    <a:pt x="434" y="220"/>
                  </a:lnTo>
                  <a:lnTo>
                    <a:pt x="412" y="210"/>
                  </a:lnTo>
                  <a:lnTo>
                    <a:pt x="390" y="195"/>
                  </a:lnTo>
                  <a:lnTo>
                    <a:pt x="372" y="182"/>
                  </a:lnTo>
                  <a:lnTo>
                    <a:pt x="353" y="165"/>
                  </a:lnTo>
                  <a:lnTo>
                    <a:pt x="340" y="145"/>
                  </a:lnTo>
                  <a:lnTo>
                    <a:pt x="318" y="127"/>
                  </a:lnTo>
                  <a:lnTo>
                    <a:pt x="299" y="107"/>
                  </a:lnTo>
                  <a:lnTo>
                    <a:pt x="279" y="87"/>
                  </a:lnTo>
                  <a:lnTo>
                    <a:pt x="260" y="68"/>
                  </a:lnTo>
                  <a:lnTo>
                    <a:pt x="239" y="51"/>
                  </a:lnTo>
                  <a:lnTo>
                    <a:pt x="217" y="39"/>
                  </a:lnTo>
                  <a:lnTo>
                    <a:pt x="191" y="30"/>
                  </a:lnTo>
                  <a:lnTo>
                    <a:pt x="162" y="32"/>
                  </a:lnTo>
                  <a:lnTo>
                    <a:pt x="146" y="35"/>
                  </a:lnTo>
                  <a:lnTo>
                    <a:pt x="133" y="38"/>
                  </a:lnTo>
                  <a:lnTo>
                    <a:pt x="117" y="41"/>
                  </a:lnTo>
                  <a:lnTo>
                    <a:pt x="104" y="45"/>
                  </a:lnTo>
                  <a:lnTo>
                    <a:pt x="89" y="48"/>
                  </a:lnTo>
                  <a:lnTo>
                    <a:pt x="75" y="52"/>
                  </a:lnTo>
                  <a:lnTo>
                    <a:pt x="62" y="56"/>
                  </a:lnTo>
                  <a:lnTo>
                    <a:pt x="49" y="65"/>
                  </a:lnTo>
                  <a:lnTo>
                    <a:pt x="50" y="69"/>
                  </a:lnTo>
                  <a:lnTo>
                    <a:pt x="55" y="75"/>
                  </a:lnTo>
                  <a:lnTo>
                    <a:pt x="62" y="77"/>
                  </a:lnTo>
                  <a:lnTo>
                    <a:pt x="71" y="80"/>
                  </a:lnTo>
                  <a:lnTo>
                    <a:pt x="79" y="80"/>
                  </a:lnTo>
                  <a:lnTo>
                    <a:pt x="88" y="81"/>
                  </a:lnTo>
                  <a:lnTo>
                    <a:pt x="95" y="82"/>
                  </a:lnTo>
                  <a:lnTo>
                    <a:pt x="104" y="87"/>
                  </a:lnTo>
                  <a:lnTo>
                    <a:pt x="113" y="91"/>
                  </a:lnTo>
                  <a:lnTo>
                    <a:pt x="123" y="97"/>
                  </a:lnTo>
                  <a:lnTo>
                    <a:pt x="131" y="103"/>
                  </a:lnTo>
                  <a:lnTo>
                    <a:pt x="139" y="114"/>
                  </a:lnTo>
                  <a:lnTo>
                    <a:pt x="120" y="107"/>
                  </a:lnTo>
                  <a:lnTo>
                    <a:pt x="101" y="106"/>
                  </a:lnTo>
                  <a:lnTo>
                    <a:pt x="81" y="104"/>
                  </a:lnTo>
                  <a:lnTo>
                    <a:pt x="63" y="103"/>
                  </a:lnTo>
                  <a:lnTo>
                    <a:pt x="43" y="98"/>
                  </a:lnTo>
                  <a:lnTo>
                    <a:pt x="27" y="94"/>
                  </a:lnTo>
                  <a:lnTo>
                    <a:pt x="11" y="82"/>
                  </a:lnTo>
                  <a:lnTo>
                    <a:pt x="0" y="68"/>
                  </a:lnTo>
                  <a:lnTo>
                    <a:pt x="16" y="46"/>
                  </a:lnTo>
                  <a:lnTo>
                    <a:pt x="36" y="33"/>
                  </a:lnTo>
                  <a:lnTo>
                    <a:pt x="59" y="25"/>
                  </a:lnTo>
                  <a:lnTo>
                    <a:pt x="85" y="20"/>
                  </a:lnTo>
                  <a:lnTo>
                    <a:pt x="111" y="16"/>
                  </a:lnTo>
                  <a:lnTo>
                    <a:pt x="139" y="13"/>
                  </a:lnTo>
                  <a:lnTo>
                    <a:pt x="163" y="7"/>
                  </a:lnTo>
                  <a:lnTo>
                    <a:pt x="189" y="0"/>
                  </a:lnTo>
                  <a:lnTo>
                    <a:pt x="227" y="4"/>
                  </a:lnTo>
                  <a:lnTo>
                    <a:pt x="260" y="20"/>
                  </a:lnTo>
                  <a:lnTo>
                    <a:pt x="288" y="42"/>
                  </a:lnTo>
                  <a:lnTo>
                    <a:pt x="312" y="71"/>
                  </a:lnTo>
                  <a:lnTo>
                    <a:pt x="334" y="100"/>
                  </a:lnTo>
                  <a:lnTo>
                    <a:pt x="357" y="130"/>
                  </a:lnTo>
                  <a:lnTo>
                    <a:pt x="382" y="158"/>
                  </a:lnTo>
                  <a:lnTo>
                    <a:pt x="411" y="182"/>
                  </a:lnTo>
                  <a:close/>
                </a:path>
              </a:pathLst>
            </a:custGeom>
            <a:solidFill>
              <a:srgbClr val="000000"/>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67" name="Freeform 23"/>
            <p:cNvSpPr>
              <a:spLocks/>
            </p:cNvSpPr>
            <p:nvPr/>
          </p:nvSpPr>
          <p:spPr bwMode="auto">
            <a:xfrm>
              <a:off x="2842" y="1807"/>
              <a:ext cx="32" cy="102"/>
            </a:xfrm>
            <a:custGeom>
              <a:avLst/>
              <a:gdLst/>
              <a:ahLst/>
              <a:cxnLst>
                <a:cxn ang="0">
                  <a:pos x="96" y="6"/>
                </a:cxn>
                <a:cxn ang="0">
                  <a:pos x="87" y="32"/>
                </a:cxn>
                <a:cxn ang="0">
                  <a:pos x="81" y="61"/>
                </a:cxn>
                <a:cxn ang="0">
                  <a:pos x="73" y="87"/>
                </a:cxn>
                <a:cxn ang="0">
                  <a:pos x="67" y="116"/>
                </a:cxn>
                <a:cxn ang="0">
                  <a:pos x="60" y="143"/>
                </a:cxn>
                <a:cxn ang="0">
                  <a:pos x="52" y="171"/>
                </a:cxn>
                <a:cxn ang="0">
                  <a:pos x="45" y="198"/>
                </a:cxn>
                <a:cxn ang="0">
                  <a:pos x="39" y="227"/>
                </a:cxn>
                <a:cxn ang="0">
                  <a:pos x="41" y="237"/>
                </a:cxn>
                <a:cxn ang="0">
                  <a:pos x="45" y="247"/>
                </a:cxn>
                <a:cxn ang="0">
                  <a:pos x="50" y="256"/>
                </a:cxn>
                <a:cxn ang="0">
                  <a:pos x="57" y="266"/>
                </a:cxn>
                <a:cxn ang="0">
                  <a:pos x="63" y="274"/>
                </a:cxn>
                <a:cxn ang="0">
                  <a:pos x="71" y="282"/>
                </a:cxn>
                <a:cxn ang="0">
                  <a:pos x="78" y="291"/>
                </a:cxn>
                <a:cxn ang="0">
                  <a:pos x="86" y="300"/>
                </a:cxn>
                <a:cxn ang="0">
                  <a:pos x="80" y="307"/>
                </a:cxn>
                <a:cxn ang="0">
                  <a:pos x="0" y="242"/>
                </a:cxn>
                <a:cxn ang="0">
                  <a:pos x="10" y="211"/>
                </a:cxn>
                <a:cxn ang="0">
                  <a:pos x="22" y="181"/>
                </a:cxn>
                <a:cxn ang="0">
                  <a:pos x="32" y="151"/>
                </a:cxn>
                <a:cxn ang="0">
                  <a:pos x="44" y="120"/>
                </a:cxn>
                <a:cxn ang="0">
                  <a:pos x="54" y="88"/>
                </a:cxn>
                <a:cxn ang="0">
                  <a:pos x="64" y="58"/>
                </a:cxn>
                <a:cxn ang="0">
                  <a:pos x="76" y="28"/>
                </a:cxn>
                <a:cxn ang="0">
                  <a:pos x="89" y="0"/>
                </a:cxn>
                <a:cxn ang="0">
                  <a:pos x="96" y="6"/>
                </a:cxn>
              </a:cxnLst>
              <a:rect l="0" t="0" r="r" b="b"/>
              <a:pathLst>
                <a:path w="96" h="307">
                  <a:moveTo>
                    <a:pt x="96" y="6"/>
                  </a:moveTo>
                  <a:lnTo>
                    <a:pt x="87" y="32"/>
                  </a:lnTo>
                  <a:lnTo>
                    <a:pt x="81" y="61"/>
                  </a:lnTo>
                  <a:lnTo>
                    <a:pt x="73" y="87"/>
                  </a:lnTo>
                  <a:lnTo>
                    <a:pt x="67" y="116"/>
                  </a:lnTo>
                  <a:lnTo>
                    <a:pt x="60" y="143"/>
                  </a:lnTo>
                  <a:lnTo>
                    <a:pt x="52" y="171"/>
                  </a:lnTo>
                  <a:lnTo>
                    <a:pt x="45" y="198"/>
                  </a:lnTo>
                  <a:lnTo>
                    <a:pt x="39" y="227"/>
                  </a:lnTo>
                  <a:lnTo>
                    <a:pt x="41" y="237"/>
                  </a:lnTo>
                  <a:lnTo>
                    <a:pt x="45" y="247"/>
                  </a:lnTo>
                  <a:lnTo>
                    <a:pt x="50" y="256"/>
                  </a:lnTo>
                  <a:lnTo>
                    <a:pt x="57" y="266"/>
                  </a:lnTo>
                  <a:lnTo>
                    <a:pt x="63" y="274"/>
                  </a:lnTo>
                  <a:lnTo>
                    <a:pt x="71" y="282"/>
                  </a:lnTo>
                  <a:lnTo>
                    <a:pt x="78" y="291"/>
                  </a:lnTo>
                  <a:lnTo>
                    <a:pt x="86" y="300"/>
                  </a:lnTo>
                  <a:lnTo>
                    <a:pt x="80" y="307"/>
                  </a:lnTo>
                  <a:lnTo>
                    <a:pt x="0" y="242"/>
                  </a:lnTo>
                  <a:lnTo>
                    <a:pt x="10" y="211"/>
                  </a:lnTo>
                  <a:lnTo>
                    <a:pt x="22" y="181"/>
                  </a:lnTo>
                  <a:lnTo>
                    <a:pt x="32" y="151"/>
                  </a:lnTo>
                  <a:lnTo>
                    <a:pt x="44" y="120"/>
                  </a:lnTo>
                  <a:lnTo>
                    <a:pt x="54" y="88"/>
                  </a:lnTo>
                  <a:lnTo>
                    <a:pt x="64" y="58"/>
                  </a:lnTo>
                  <a:lnTo>
                    <a:pt x="76" y="28"/>
                  </a:lnTo>
                  <a:lnTo>
                    <a:pt x="89" y="0"/>
                  </a:lnTo>
                  <a:lnTo>
                    <a:pt x="96" y="6"/>
                  </a:lnTo>
                  <a:close/>
                </a:path>
              </a:pathLst>
            </a:custGeom>
            <a:solidFill>
              <a:srgbClr val="000000"/>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68" name="Freeform 24"/>
            <p:cNvSpPr>
              <a:spLocks/>
            </p:cNvSpPr>
            <p:nvPr/>
          </p:nvSpPr>
          <p:spPr bwMode="auto">
            <a:xfrm>
              <a:off x="2608" y="1921"/>
              <a:ext cx="461" cy="225"/>
            </a:xfrm>
            <a:custGeom>
              <a:avLst/>
              <a:gdLst/>
              <a:ahLst/>
              <a:cxnLst>
                <a:cxn ang="0">
                  <a:pos x="1381" y="283"/>
                </a:cxn>
                <a:cxn ang="0">
                  <a:pos x="1372" y="309"/>
                </a:cxn>
                <a:cxn ang="0">
                  <a:pos x="1355" y="335"/>
                </a:cxn>
                <a:cxn ang="0">
                  <a:pos x="1351" y="403"/>
                </a:cxn>
                <a:cxn ang="0">
                  <a:pos x="1338" y="471"/>
                </a:cxn>
                <a:cxn ang="0">
                  <a:pos x="1309" y="532"/>
                </a:cxn>
                <a:cxn ang="0">
                  <a:pos x="1261" y="586"/>
                </a:cxn>
                <a:cxn ang="0">
                  <a:pos x="1199" y="623"/>
                </a:cxn>
                <a:cxn ang="0">
                  <a:pos x="1129" y="628"/>
                </a:cxn>
                <a:cxn ang="0">
                  <a:pos x="1055" y="618"/>
                </a:cxn>
                <a:cxn ang="0">
                  <a:pos x="985" y="613"/>
                </a:cxn>
                <a:cxn ang="0">
                  <a:pos x="872" y="629"/>
                </a:cxn>
                <a:cxn ang="0">
                  <a:pos x="763" y="646"/>
                </a:cxn>
                <a:cxn ang="0">
                  <a:pos x="655" y="661"/>
                </a:cxn>
                <a:cxn ang="0">
                  <a:pos x="546" y="675"/>
                </a:cxn>
                <a:cxn ang="0">
                  <a:pos x="416" y="642"/>
                </a:cxn>
                <a:cxn ang="0">
                  <a:pos x="294" y="591"/>
                </a:cxn>
                <a:cxn ang="0">
                  <a:pos x="180" y="523"/>
                </a:cxn>
                <a:cxn ang="0">
                  <a:pos x="73" y="442"/>
                </a:cxn>
                <a:cxn ang="0">
                  <a:pos x="57" y="421"/>
                </a:cxn>
                <a:cxn ang="0">
                  <a:pos x="42" y="399"/>
                </a:cxn>
                <a:cxn ang="0">
                  <a:pos x="27" y="380"/>
                </a:cxn>
                <a:cxn ang="0">
                  <a:pos x="5" y="366"/>
                </a:cxn>
                <a:cxn ang="0">
                  <a:pos x="5" y="351"/>
                </a:cxn>
                <a:cxn ang="0">
                  <a:pos x="0" y="338"/>
                </a:cxn>
                <a:cxn ang="0">
                  <a:pos x="145" y="215"/>
                </a:cxn>
                <a:cxn ang="0">
                  <a:pos x="306" y="123"/>
                </a:cxn>
                <a:cxn ang="0">
                  <a:pos x="478" y="56"/>
                </a:cxn>
                <a:cxn ang="0">
                  <a:pos x="659" y="13"/>
                </a:cxn>
                <a:cxn ang="0">
                  <a:pos x="723" y="4"/>
                </a:cxn>
                <a:cxn ang="0">
                  <a:pos x="783" y="25"/>
                </a:cxn>
                <a:cxn ang="0">
                  <a:pos x="843" y="52"/>
                </a:cxn>
                <a:cxn ang="0">
                  <a:pos x="905" y="71"/>
                </a:cxn>
                <a:cxn ang="0">
                  <a:pos x="943" y="52"/>
                </a:cxn>
                <a:cxn ang="0">
                  <a:pos x="980" y="33"/>
                </a:cxn>
                <a:cxn ang="0">
                  <a:pos x="1019" y="13"/>
                </a:cxn>
                <a:cxn ang="0">
                  <a:pos x="1061" y="0"/>
                </a:cxn>
                <a:cxn ang="0">
                  <a:pos x="1118" y="30"/>
                </a:cxn>
                <a:cxn ang="0">
                  <a:pos x="1171" y="68"/>
                </a:cxn>
                <a:cxn ang="0">
                  <a:pos x="1225" y="107"/>
                </a:cxn>
                <a:cxn ang="0">
                  <a:pos x="1278" y="147"/>
                </a:cxn>
              </a:cxnLst>
              <a:rect l="0" t="0" r="r" b="b"/>
              <a:pathLst>
                <a:path w="1381" h="675">
                  <a:moveTo>
                    <a:pt x="1278" y="147"/>
                  </a:moveTo>
                  <a:lnTo>
                    <a:pt x="1381" y="283"/>
                  </a:lnTo>
                  <a:lnTo>
                    <a:pt x="1378" y="296"/>
                  </a:lnTo>
                  <a:lnTo>
                    <a:pt x="1372" y="309"/>
                  </a:lnTo>
                  <a:lnTo>
                    <a:pt x="1364" y="322"/>
                  </a:lnTo>
                  <a:lnTo>
                    <a:pt x="1355" y="335"/>
                  </a:lnTo>
                  <a:lnTo>
                    <a:pt x="1354" y="369"/>
                  </a:lnTo>
                  <a:lnTo>
                    <a:pt x="1351" y="403"/>
                  </a:lnTo>
                  <a:lnTo>
                    <a:pt x="1346" y="437"/>
                  </a:lnTo>
                  <a:lnTo>
                    <a:pt x="1338" y="471"/>
                  </a:lnTo>
                  <a:lnTo>
                    <a:pt x="1325" y="502"/>
                  </a:lnTo>
                  <a:lnTo>
                    <a:pt x="1309" y="532"/>
                  </a:lnTo>
                  <a:lnTo>
                    <a:pt x="1287" y="560"/>
                  </a:lnTo>
                  <a:lnTo>
                    <a:pt x="1261" y="586"/>
                  </a:lnTo>
                  <a:lnTo>
                    <a:pt x="1231" y="609"/>
                  </a:lnTo>
                  <a:lnTo>
                    <a:pt x="1199" y="623"/>
                  </a:lnTo>
                  <a:lnTo>
                    <a:pt x="1164" y="628"/>
                  </a:lnTo>
                  <a:lnTo>
                    <a:pt x="1129" y="628"/>
                  </a:lnTo>
                  <a:lnTo>
                    <a:pt x="1092" y="623"/>
                  </a:lnTo>
                  <a:lnTo>
                    <a:pt x="1055" y="618"/>
                  </a:lnTo>
                  <a:lnTo>
                    <a:pt x="1019" y="613"/>
                  </a:lnTo>
                  <a:lnTo>
                    <a:pt x="985" y="613"/>
                  </a:lnTo>
                  <a:lnTo>
                    <a:pt x="928" y="620"/>
                  </a:lnTo>
                  <a:lnTo>
                    <a:pt x="872" y="629"/>
                  </a:lnTo>
                  <a:lnTo>
                    <a:pt x="817" y="638"/>
                  </a:lnTo>
                  <a:lnTo>
                    <a:pt x="763" y="646"/>
                  </a:lnTo>
                  <a:lnTo>
                    <a:pt x="708" y="654"/>
                  </a:lnTo>
                  <a:lnTo>
                    <a:pt x="655" y="661"/>
                  </a:lnTo>
                  <a:lnTo>
                    <a:pt x="600" y="668"/>
                  </a:lnTo>
                  <a:lnTo>
                    <a:pt x="546" y="675"/>
                  </a:lnTo>
                  <a:lnTo>
                    <a:pt x="479" y="661"/>
                  </a:lnTo>
                  <a:lnTo>
                    <a:pt x="416" y="642"/>
                  </a:lnTo>
                  <a:lnTo>
                    <a:pt x="354" y="619"/>
                  </a:lnTo>
                  <a:lnTo>
                    <a:pt x="294" y="591"/>
                  </a:lnTo>
                  <a:lnTo>
                    <a:pt x="235" y="560"/>
                  </a:lnTo>
                  <a:lnTo>
                    <a:pt x="180" y="523"/>
                  </a:lnTo>
                  <a:lnTo>
                    <a:pt x="125" y="484"/>
                  </a:lnTo>
                  <a:lnTo>
                    <a:pt x="73" y="442"/>
                  </a:lnTo>
                  <a:lnTo>
                    <a:pt x="64" y="431"/>
                  </a:lnTo>
                  <a:lnTo>
                    <a:pt x="57" y="421"/>
                  </a:lnTo>
                  <a:lnTo>
                    <a:pt x="48" y="409"/>
                  </a:lnTo>
                  <a:lnTo>
                    <a:pt x="42" y="399"/>
                  </a:lnTo>
                  <a:lnTo>
                    <a:pt x="34" y="389"/>
                  </a:lnTo>
                  <a:lnTo>
                    <a:pt x="27" y="380"/>
                  </a:lnTo>
                  <a:lnTo>
                    <a:pt x="16" y="372"/>
                  </a:lnTo>
                  <a:lnTo>
                    <a:pt x="5" y="366"/>
                  </a:lnTo>
                  <a:lnTo>
                    <a:pt x="8" y="357"/>
                  </a:lnTo>
                  <a:lnTo>
                    <a:pt x="5" y="351"/>
                  </a:lnTo>
                  <a:lnTo>
                    <a:pt x="0" y="344"/>
                  </a:lnTo>
                  <a:lnTo>
                    <a:pt x="0" y="338"/>
                  </a:lnTo>
                  <a:lnTo>
                    <a:pt x="70" y="272"/>
                  </a:lnTo>
                  <a:lnTo>
                    <a:pt x="145" y="215"/>
                  </a:lnTo>
                  <a:lnTo>
                    <a:pt x="223" y="165"/>
                  </a:lnTo>
                  <a:lnTo>
                    <a:pt x="306" y="123"/>
                  </a:lnTo>
                  <a:lnTo>
                    <a:pt x="390" y="87"/>
                  </a:lnTo>
                  <a:lnTo>
                    <a:pt x="478" y="56"/>
                  </a:lnTo>
                  <a:lnTo>
                    <a:pt x="566" y="32"/>
                  </a:lnTo>
                  <a:lnTo>
                    <a:pt x="659" y="13"/>
                  </a:lnTo>
                  <a:lnTo>
                    <a:pt x="691" y="3"/>
                  </a:lnTo>
                  <a:lnTo>
                    <a:pt x="723" y="4"/>
                  </a:lnTo>
                  <a:lnTo>
                    <a:pt x="753" y="12"/>
                  </a:lnTo>
                  <a:lnTo>
                    <a:pt x="783" y="25"/>
                  </a:lnTo>
                  <a:lnTo>
                    <a:pt x="812" y="38"/>
                  </a:lnTo>
                  <a:lnTo>
                    <a:pt x="843" y="52"/>
                  </a:lnTo>
                  <a:lnTo>
                    <a:pt x="873" y="64"/>
                  </a:lnTo>
                  <a:lnTo>
                    <a:pt x="905" y="71"/>
                  </a:lnTo>
                  <a:lnTo>
                    <a:pt x="924" y="61"/>
                  </a:lnTo>
                  <a:lnTo>
                    <a:pt x="943" y="52"/>
                  </a:lnTo>
                  <a:lnTo>
                    <a:pt x="961" y="42"/>
                  </a:lnTo>
                  <a:lnTo>
                    <a:pt x="980" y="33"/>
                  </a:lnTo>
                  <a:lnTo>
                    <a:pt x="999" y="22"/>
                  </a:lnTo>
                  <a:lnTo>
                    <a:pt x="1019" y="13"/>
                  </a:lnTo>
                  <a:lnTo>
                    <a:pt x="1040" y="4"/>
                  </a:lnTo>
                  <a:lnTo>
                    <a:pt x="1061" y="0"/>
                  </a:lnTo>
                  <a:lnTo>
                    <a:pt x="1089" y="13"/>
                  </a:lnTo>
                  <a:lnTo>
                    <a:pt x="1118" y="30"/>
                  </a:lnTo>
                  <a:lnTo>
                    <a:pt x="1144" y="48"/>
                  </a:lnTo>
                  <a:lnTo>
                    <a:pt x="1171" y="68"/>
                  </a:lnTo>
                  <a:lnTo>
                    <a:pt x="1197" y="87"/>
                  </a:lnTo>
                  <a:lnTo>
                    <a:pt x="1225" y="107"/>
                  </a:lnTo>
                  <a:lnTo>
                    <a:pt x="1251" y="127"/>
                  </a:lnTo>
                  <a:lnTo>
                    <a:pt x="1278" y="147"/>
                  </a:lnTo>
                  <a:close/>
                </a:path>
              </a:pathLst>
            </a:custGeom>
            <a:solidFill>
              <a:srgbClr val="000000"/>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69" name="Freeform 25"/>
            <p:cNvSpPr>
              <a:spLocks/>
            </p:cNvSpPr>
            <p:nvPr/>
          </p:nvSpPr>
          <p:spPr bwMode="auto">
            <a:xfrm>
              <a:off x="2630" y="1932"/>
              <a:ext cx="425" cy="104"/>
            </a:xfrm>
            <a:custGeom>
              <a:avLst/>
              <a:gdLst/>
              <a:ahLst/>
              <a:cxnLst>
                <a:cxn ang="0">
                  <a:pos x="830" y="67"/>
                </a:cxn>
                <a:cxn ang="0">
                  <a:pos x="852" y="67"/>
                </a:cxn>
                <a:cxn ang="0">
                  <a:pos x="879" y="55"/>
                </a:cxn>
                <a:cxn ang="0">
                  <a:pos x="913" y="33"/>
                </a:cxn>
                <a:cxn ang="0">
                  <a:pos x="946" y="15"/>
                </a:cxn>
                <a:cxn ang="0">
                  <a:pos x="981" y="3"/>
                </a:cxn>
                <a:cxn ang="0">
                  <a:pos x="1030" y="19"/>
                </a:cxn>
                <a:cxn ang="0">
                  <a:pos x="1085" y="59"/>
                </a:cxn>
                <a:cxn ang="0">
                  <a:pos x="1138" y="109"/>
                </a:cxn>
                <a:cxn ang="0">
                  <a:pos x="1191" y="156"/>
                </a:cxn>
                <a:cxn ang="0">
                  <a:pos x="1224" y="188"/>
                </a:cxn>
                <a:cxn ang="0">
                  <a:pos x="1240" y="207"/>
                </a:cxn>
                <a:cxn ang="0">
                  <a:pos x="1256" y="226"/>
                </a:cxn>
                <a:cxn ang="0">
                  <a:pos x="1269" y="245"/>
                </a:cxn>
                <a:cxn ang="0">
                  <a:pos x="1251" y="272"/>
                </a:cxn>
                <a:cxn ang="0">
                  <a:pos x="1205" y="279"/>
                </a:cxn>
                <a:cxn ang="0">
                  <a:pos x="1156" y="266"/>
                </a:cxn>
                <a:cxn ang="0">
                  <a:pos x="1107" y="252"/>
                </a:cxn>
                <a:cxn ang="0">
                  <a:pos x="1052" y="237"/>
                </a:cxn>
                <a:cxn ang="0">
                  <a:pos x="988" y="233"/>
                </a:cxn>
                <a:cxn ang="0">
                  <a:pos x="924" y="245"/>
                </a:cxn>
                <a:cxn ang="0">
                  <a:pos x="862" y="263"/>
                </a:cxn>
                <a:cxn ang="0">
                  <a:pos x="761" y="261"/>
                </a:cxn>
                <a:cxn ang="0">
                  <a:pos x="613" y="243"/>
                </a:cxn>
                <a:cxn ang="0">
                  <a:pos x="464" y="242"/>
                </a:cxn>
                <a:cxn ang="0">
                  <a:pos x="321" y="269"/>
                </a:cxn>
                <a:cxn ang="0">
                  <a:pos x="235" y="305"/>
                </a:cxn>
                <a:cxn ang="0">
                  <a:pos x="194" y="313"/>
                </a:cxn>
                <a:cxn ang="0">
                  <a:pos x="152" y="307"/>
                </a:cxn>
                <a:cxn ang="0">
                  <a:pos x="108" y="301"/>
                </a:cxn>
                <a:cxn ang="0">
                  <a:pos x="76" y="297"/>
                </a:cxn>
                <a:cxn ang="0">
                  <a:pos x="55" y="291"/>
                </a:cxn>
                <a:cxn ang="0">
                  <a:pos x="31" y="289"/>
                </a:cxn>
                <a:cxn ang="0">
                  <a:pos x="8" y="285"/>
                </a:cxn>
                <a:cxn ang="0">
                  <a:pos x="59" y="233"/>
                </a:cxn>
                <a:cxn ang="0">
                  <a:pos x="189" y="151"/>
                </a:cxn>
                <a:cxn ang="0">
                  <a:pos x="328" y="86"/>
                </a:cxn>
                <a:cxn ang="0">
                  <a:pos x="474" y="32"/>
                </a:cxn>
                <a:cxn ang="0">
                  <a:pos x="574" y="2"/>
                </a:cxn>
                <a:cxn ang="0">
                  <a:pos x="628" y="3"/>
                </a:cxn>
                <a:cxn ang="0">
                  <a:pos x="680" y="16"/>
                </a:cxn>
                <a:cxn ang="0">
                  <a:pos x="732" y="33"/>
                </a:cxn>
                <a:cxn ang="0">
                  <a:pos x="765" y="44"/>
                </a:cxn>
                <a:cxn ang="0">
                  <a:pos x="781" y="49"/>
                </a:cxn>
                <a:cxn ang="0">
                  <a:pos x="797" y="54"/>
                </a:cxn>
                <a:cxn ang="0">
                  <a:pos x="814" y="57"/>
                </a:cxn>
              </a:cxnLst>
              <a:rect l="0" t="0" r="r" b="b"/>
              <a:pathLst>
                <a:path w="1275" h="313">
                  <a:moveTo>
                    <a:pt x="823" y="59"/>
                  </a:moveTo>
                  <a:lnTo>
                    <a:pt x="830" y="67"/>
                  </a:lnTo>
                  <a:lnTo>
                    <a:pt x="842" y="68"/>
                  </a:lnTo>
                  <a:lnTo>
                    <a:pt x="852" y="67"/>
                  </a:lnTo>
                  <a:lnTo>
                    <a:pt x="864" y="65"/>
                  </a:lnTo>
                  <a:lnTo>
                    <a:pt x="879" y="55"/>
                  </a:lnTo>
                  <a:lnTo>
                    <a:pt x="897" y="45"/>
                  </a:lnTo>
                  <a:lnTo>
                    <a:pt x="913" y="33"/>
                  </a:lnTo>
                  <a:lnTo>
                    <a:pt x="930" y="25"/>
                  </a:lnTo>
                  <a:lnTo>
                    <a:pt x="946" y="15"/>
                  </a:lnTo>
                  <a:lnTo>
                    <a:pt x="963" y="7"/>
                  </a:lnTo>
                  <a:lnTo>
                    <a:pt x="981" y="3"/>
                  </a:lnTo>
                  <a:lnTo>
                    <a:pt x="1001" y="5"/>
                  </a:lnTo>
                  <a:lnTo>
                    <a:pt x="1030" y="19"/>
                  </a:lnTo>
                  <a:lnTo>
                    <a:pt x="1059" y="39"/>
                  </a:lnTo>
                  <a:lnTo>
                    <a:pt x="1085" y="59"/>
                  </a:lnTo>
                  <a:lnTo>
                    <a:pt x="1112" y="86"/>
                  </a:lnTo>
                  <a:lnTo>
                    <a:pt x="1138" y="109"/>
                  </a:lnTo>
                  <a:lnTo>
                    <a:pt x="1165" y="133"/>
                  </a:lnTo>
                  <a:lnTo>
                    <a:pt x="1191" y="156"/>
                  </a:lnTo>
                  <a:lnTo>
                    <a:pt x="1220" y="180"/>
                  </a:lnTo>
                  <a:lnTo>
                    <a:pt x="1224" y="188"/>
                  </a:lnTo>
                  <a:lnTo>
                    <a:pt x="1233" y="198"/>
                  </a:lnTo>
                  <a:lnTo>
                    <a:pt x="1240" y="207"/>
                  </a:lnTo>
                  <a:lnTo>
                    <a:pt x="1248" y="217"/>
                  </a:lnTo>
                  <a:lnTo>
                    <a:pt x="1256" y="226"/>
                  </a:lnTo>
                  <a:lnTo>
                    <a:pt x="1263" y="236"/>
                  </a:lnTo>
                  <a:lnTo>
                    <a:pt x="1269" y="245"/>
                  </a:lnTo>
                  <a:lnTo>
                    <a:pt x="1275" y="256"/>
                  </a:lnTo>
                  <a:lnTo>
                    <a:pt x="1251" y="272"/>
                  </a:lnTo>
                  <a:lnTo>
                    <a:pt x="1230" y="279"/>
                  </a:lnTo>
                  <a:lnTo>
                    <a:pt x="1205" y="279"/>
                  </a:lnTo>
                  <a:lnTo>
                    <a:pt x="1182" y="275"/>
                  </a:lnTo>
                  <a:lnTo>
                    <a:pt x="1156" y="266"/>
                  </a:lnTo>
                  <a:lnTo>
                    <a:pt x="1131" y="259"/>
                  </a:lnTo>
                  <a:lnTo>
                    <a:pt x="1107" y="252"/>
                  </a:lnTo>
                  <a:lnTo>
                    <a:pt x="1085" y="250"/>
                  </a:lnTo>
                  <a:lnTo>
                    <a:pt x="1052" y="237"/>
                  </a:lnTo>
                  <a:lnTo>
                    <a:pt x="1020" y="233"/>
                  </a:lnTo>
                  <a:lnTo>
                    <a:pt x="988" y="233"/>
                  </a:lnTo>
                  <a:lnTo>
                    <a:pt x="956" y="239"/>
                  </a:lnTo>
                  <a:lnTo>
                    <a:pt x="924" y="245"/>
                  </a:lnTo>
                  <a:lnTo>
                    <a:pt x="892" y="253"/>
                  </a:lnTo>
                  <a:lnTo>
                    <a:pt x="862" y="263"/>
                  </a:lnTo>
                  <a:lnTo>
                    <a:pt x="835" y="274"/>
                  </a:lnTo>
                  <a:lnTo>
                    <a:pt x="761" y="261"/>
                  </a:lnTo>
                  <a:lnTo>
                    <a:pt x="688" y="250"/>
                  </a:lnTo>
                  <a:lnTo>
                    <a:pt x="613" y="243"/>
                  </a:lnTo>
                  <a:lnTo>
                    <a:pt x="539" y="240"/>
                  </a:lnTo>
                  <a:lnTo>
                    <a:pt x="464" y="242"/>
                  </a:lnTo>
                  <a:lnTo>
                    <a:pt x="392" y="252"/>
                  </a:lnTo>
                  <a:lnTo>
                    <a:pt x="321" y="269"/>
                  </a:lnTo>
                  <a:lnTo>
                    <a:pt x="256" y="295"/>
                  </a:lnTo>
                  <a:lnTo>
                    <a:pt x="235" y="305"/>
                  </a:lnTo>
                  <a:lnTo>
                    <a:pt x="215" y="311"/>
                  </a:lnTo>
                  <a:lnTo>
                    <a:pt x="194" y="313"/>
                  </a:lnTo>
                  <a:lnTo>
                    <a:pt x="173" y="311"/>
                  </a:lnTo>
                  <a:lnTo>
                    <a:pt x="152" y="307"/>
                  </a:lnTo>
                  <a:lnTo>
                    <a:pt x="130" y="304"/>
                  </a:lnTo>
                  <a:lnTo>
                    <a:pt x="108" y="301"/>
                  </a:lnTo>
                  <a:lnTo>
                    <a:pt x="88" y="302"/>
                  </a:lnTo>
                  <a:lnTo>
                    <a:pt x="76" y="297"/>
                  </a:lnTo>
                  <a:lnTo>
                    <a:pt x="66" y="294"/>
                  </a:lnTo>
                  <a:lnTo>
                    <a:pt x="55" y="291"/>
                  </a:lnTo>
                  <a:lnTo>
                    <a:pt x="43" y="291"/>
                  </a:lnTo>
                  <a:lnTo>
                    <a:pt x="31" y="289"/>
                  </a:lnTo>
                  <a:lnTo>
                    <a:pt x="20" y="288"/>
                  </a:lnTo>
                  <a:lnTo>
                    <a:pt x="8" y="285"/>
                  </a:lnTo>
                  <a:lnTo>
                    <a:pt x="0" y="284"/>
                  </a:lnTo>
                  <a:lnTo>
                    <a:pt x="59" y="233"/>
                  </a:lnTo>
                  <a:lnTo>
                    <a:pt x="123" y="190"/>
                  </a:lnTo>
                  <a:lnTo>
                    <a:pt x="189" y="151"/>
                  </a:lnTo>
                  <a:lnTo>
                    <a:pt x="259" y="117"/>
                  </a:lnTo>
                  <a:lnTo>
                    <a:pt x="328" y="86"/>
                  </a:lnTo>
                  <a:lnTo>
                    <a:pt x="400" y="58"/>
                  </a:lnTo>
                  <a:lnTo>
                    <a:pt x="474" y="32"/>
                  </a:lnTo>
                  <a:lnTo>
                    <a:pt x="548" y="10"/>
                  </a:lnTo>
                  <a:lnTo>
                    <a:pt x="574" y="2"/>
                  </a:lnTo>
                  <a:lnTo>
                    <a:pt x="602" y="0"/>
                  </a:lnTo>
                  <a:lnTo>
                    <a:pt x="628" y="3"/>
                  </a:lnTo>
                  <a:lnTo>
                    <a:pt x="655" y="9"/>
                  </a:lnTo>
                  <a:lnTo>
                    <a:pt x="680" y="16"/>
                  </a:lnTo>
                  <a:lnTo>
                    <a:pt x="706" y="25"/>
                  </a:lnTo>
                  <a:lnTo>
                    <a:pt x="732" y="33"/>
                  </a:lnTo>
                  <a:lnTo>
                    <a:pt x="758" y="42"/>
                  </a:lnTo>
                  <a:lnTo>
                    <a:pt x="765" y="44"/>
                  </a:lnTo>
                  <a:lnTo>
                    <a:pt x="772" y="46"/>
                  </a:lnTo>
                  <a:lnTo>
                    <a:pt x="781" y="49"/>
                  </a:lnTo>
                  <a:lnTo>
                    <a:pt x="790" y="52"/>
                  </a:lnTo>
                  <a:lnTo>
                    <a:pt x="797" y="54"/>
                  </a:lnTo>
                  <a:lnTo>
                    <a:pt x="806" y="55"/>
                  </a:lnTo>
                  <a:lnTo>
                    <a:pt x="814" y="57"/>
                  </a:lnTo>
                  <a:lnTo>
                    <a:pt x="823" y="59"/>
                  </a:lnTo>
                  <a:close/>
                </a:path>
              </a:pathLst>
            </a:custGeom>
            <a:solidFill>
              <a:srgbClr val="FFADB0"/>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70" name="Freeform 26"/>
            <p:cNvSpPr>
              <a:spLocks/>
            </p:cNvSpPr>
            <p:nvPr/>
          </p:nvSpPr>
          <p:spPr bwMode="auto">
            <a:xfrm>
              <a:off x="2630" y="1939"/>
              <a:ext cx="425" cy="97"/>
            </a:xfrm>
            <a:custGeom>
              <a:avLst/>
              <a:gdLst/>
              <a:ahLst/>
              <a:cxnLst>
                <a:cxn ang="0">
                  <a:pos x="830" y="66"/>
                </a:cxn>
                <a:cxn ang="0">
                  <a:pos x="855" y="66"/>
                </a:cxn>
                <a:cxn ang="0">
                  <a:pos x="882" y="54"/>
                </a:cxn>
                <a:cxn ang="0">
                  <a:pos x="914" y="32"/>
                </a:cxn>
                <a:cxn ang="0">
                  <a:pos x="946" y="13"/>
                </a:cxn>
                <a:cxn ang="0">
                  <a:pos x="979" y="3"/>
                </a:cxn>
                <a:cxn ang="0">
                  <a:pos x="1029" y="19"/>
                </a:cxn>
                <a:cxn ang="0">
                  <a:pos x="1085" y="54"/>
                </a:cxn>
                <a:cxn ang="0">
                  <a:pos x="1138" y="94"/>
                </a:cxn>
                <a:cxn ang="0">
                  <a:pos x="1191" y="138"/>
                </a:cxn>
                <a:cxn ang="0">
                  <a:pos x="1224" y="168"/>
                </a:cxn>
                <a:cxn ang="0">
                  <a:pos x="1240" y="187"/>
                </a:cxn>
                <a:cxn ang="0">
                  <a:pos x="1256" y="206"/>
                </a:cxn>
                <a:cxn ang="0">
                  <a:pos x="1269" y="225"/>
                </a:cxn>
                <a:cxn ang="0">
                  <a:pos x="1251" y="252"/>
                </a:cxn>
                <a:cxn ang="0">
                  <a:pos x="1205" y="259"/>
                </a:cxn>
                <a:cxn ang="0">
                  <a:pos x="1156" y="246"/>
                </a:cxn>
                <a:cxn ang="0">
                  <a:pos x="1107" y="232"/>
                </a:cxn>
                <a:cxn ang="0">
                  <a:pos x="1052" y="217"/>
                </a:cxn>
                <a:cxn ang="0">
                  <a:pos x="988" y="213"/>
                </a:cxn>
                <a:cxn ang="0">
                  <a:pos x="924" y="225"/>
                </a:cxn>
                <a:cxn ang="0">
                  <a:pos x="862" y="243"/>
                </a:cxn>
                <a:cxn ang="0">
                  <a:pos x="761" y="241"/>
                </a:cxn>
                <a:cxn ang="0">
                  <a:pos x="613" y="223"/>
                </a:cxn>
                <a:cxn ang="0">
                  <a:pos x="464" y="222"/>
                </a:cxn>
                <a:cxn ang="0">
                  <a:pos x="321" y="249"/>
                </a:cxn>
                <a:cxn ang="0">
                  <a:pos x="235" y="285"/>
                </a:cxn>
                <a:cxn ang="0">
                  <a:pos x="194" y="293"/>
                </a:cxn>
                <a:cxn ang="0">
                  <a:pos x="152" y="287"/>
                </a:cxn>
                <a:cxn ang="0">
                  <a:pos x="108" y="281"/>
                </a:cxn>
                <a:cxn ang="0">
                  <a:pos x="76" y="277"/>
                </a:cxn>
                <a:cxn ang="0">
                  <a:pos x="55" y="271"/>
                </a:cxn>
                <a:cxn ang="0">
                  <a:pos x="31" y="269"/>
                </a:cxn>
                <a:cxn ang="0">
                  <a:pos x="8" y="265"/>
                </a:cxn>
                <a:cxn ang="0">
                  <a:pos x="59" y="213"/>
                </a:cxn>
                <a:cxn ang="0">
                  <a:pos x="189" y="136"/>
                </a:cxn>
                <a:cxn ang="0">
                  <a:pos x="328" y="80"/>
                </a:cxn>
                <a:cxn ang="0">
                  <a:pos x="474" y="32"/>
                </a:cxn>
                <a:cxn ang="0">
                  <a:pos x="574" y="2"/>
                </a:cxn>
                <a:cxn ang="0">
                  <a:pos x="628" y="3"/>
                </a:cxn>
                <a:cxn ang="0">
                  <a:pos x="680" y="16"/>
                </a:cxn>
                <a:cxn ang="0">
                  <a:pos x="732" y="34"/>
                </a:cxn>
                <a:cxn ang="0">
                  <a:pos x="764" y="44"/>
                </a:cxn>
                <a:cxn ang="0">
                  <a:pos x="780" y="50"/>
                </a:cxn>
                <a:cxn ang="0">
                  <a:pos x="797" y="54"/>
                </a:cxn>
                <a:cxn ang="0">
                  <a:pos x="814" y="57"/>
                </a:cxn>
              </a:cxnLst>
              <a:rect l="0" t="0" r="r" b="b"/>
              <a:pathLst>
                <a:path w="1275" h="293">
                  <a:moveTo>
                    <a:pt x="823" y="60"/>
                  </a:moveTo>
                  <a:lnTo>
                    <a:pt x="830" y="66"/>
                  </a:lnTo>
                  <a:lnTo>
                    <a:pt x="843" y="68"/>
                  </a:lnTo>
                  <a:lnTo>
                    <a:pt x="855" y="66"/>
                  </a:lnTo>
                  <a:lnTo>
                    <a:pt x="866" y="64"/>
                  </a:lnTo>
                  <a:lnTo>
                    <a:pt x="882" y="54"/>
                  </a:lnTo>
                  <a:lnTo>
                    <a:pt x="898" y="44"/>
                  </a:lnTo>
                  <a:lnTo>
                    <a:pt x="914" y="32"/>
                  </a:lnTo>
                  <a:lnTo>
                    <a:pt x="930" y="24"/>
                  </a:lnTo>
                  <a:lnTo>
                    <a:pt x="946" y="13"/>
                  </a:lnTo>
                  <a:lnTo>
                    <a:pt x="962" y="8"/>
                  </a:lnTo>
                  <a:lnTo>
                    <a:pt x="979" y="3"/>
                  </a:lnTo>
                  <a:lnTo>
                    <a:pt x="1000" y="5"/>
                  </a:lnTo>
                  <a:lnTo>
                    <a:pt x="1029" y="19"/>
                  </a:lnTo>
                  <a:lnTo>
                    <a:pt x="1057" y="37"/>
                  </a:lnTo>
                  <a:lnTo>
                    <a:pt x="1085" y="54"/>
                  </a:lnTo>
                  <a:lnTo>
                    <a:pt x="1112" y="76"/>
                  </a:lnTo>
                  <a:lnTo>
                    <a:pt x="1138" y="94"/>
                  </a:lnTo>
                  <a:lnTo>
                    <a:pt x="1165" y="116"/>
                  </a:lnTo>
                  <a:lnTo>
                    <a:pt x="1191" y="138"/>
                  </a:lnTo>
                  <a:lnTo>
                    <a:pt x="1220" y="160"/>
                  </a:lnTo>
                  <a:lnTo>
                    <a:pt x="1224" y="168"/>
                  </a:lnTo>
                  <a:lnTo>
                    <a:pt x="1233" y="178"/>
                  </a:lnTo>
                  <a:lnTo>
                    <a:pt x="1240" y="187"/>
                  </a:lnTo>
                  <a:lnTo>
                    <a:pt x="1248" y="197"/>
                  </a:lnTo>
                  <a:lnTo>
                    <a:pt x="1256" y="206"/>
                  </a:lnTo>
                  <a:lnTo>
                    <a:pt x="1263" y="216"/>
                  </a:lnTo>
                  <a:lnTo>
                    <a:pt x="1269" y="225"/>
                  </a:lnTo>
                  <a:lnTo>
                    <a:pt x="1275" y="236"/>
                  </a:lnTo>
                  <a:lnTo>
                    <a:pt x="1251" y="252"/>
                  </a:lnTo>
                  <a:lnTo>
                    <a:pt x="1230" y="259"/>
                  </a:lnTo>
                  <a:lnTo>
                    <a:pt x="1205" y="259"/>
                  </a:lnTo>
                  <a:lnTo>
                    <a:pt x="1182" y="255"/>
                  </a:lnTo>
                  <a:lnTo>
                    <a:pt x="1156" y="246"/>
                  </a:lnTo>
                  <a:lnTo>
                    <a:pt x="1131" y="239"/>
                  </a:lnTo>
                  <a:lnTo>
                    <a:pt x="1107" y="232"/>
                  </a:lnTo>
                  <a:lnTo>
                    <a:pt x="1085" y="230"/>
                  </a:lnTo>
                  <a:lnTo>
                    <a:pt x="1052" y="217"/>
                  </a:lnTo>
                  <a:lnTo>
                    <a:pt x="1020" y="213"/>
                  </a:lnTo>
                  <a:lnTo>
                    <a:pt x="988" y="213"/>
                  </a:lnTo>
                  <a:lnTo>
                    <a:pt x="956" y="219"/>
                  </a:lnTo>
                  <a:lnTo>
                    <a:pt x="924" y="225"/>
                  </a:lnTo>
                  <a:lnTo>
                    <a:pt x="892" y="233"/>
                  </a:lnTo>
                  <a:lnTo>
                    <a:pt x="862" y="243"/>
                  </a:lnTo>
                  <a:lnTo>
                    <a:pt x="835" y="254"/>
                  </a:lnTo>
                  <a:lnTo>
                    <a:pt x="761" y="241"/>
                  </a:lnTo>
                  <a:lnTo>
                    <a:pt x="688" y="230"/>
                  </a:lnTo>
                  <a:lnTo>
                    <a:pt x="613" y="223"/>
                  </a:lnTo>
                  <a:lnTo>
                    <a:pt x="539" y="220"/>
                  </a:lnTo>
                  <a:lnTo>
                    <a:pt x="464" y="222"/>
                  </a:lnTo>
                  <a:lnTo>
                    <a:pt x="392" y="232"/>
                  </a:lnTo>
                  <a:lnTo>
                    <a:pt x="321" y="249"/>
                  </a:lnTo>
                  <a:lnTo>
                    <a:pt x="256" y="275"/>
                  </a:lnTo>
                  <a:lnTo>
                    <a:pt x="235" y="285"/>
                  </a:lnTo>
                  <a:lnTo>
                    <a:pt x="215" y="291"/>
                  </a:lnTo>
                  <a:lnTo>
                    <a:pt x="194" y="293"/>
                  </a:lnTo>
                  <a:lnTo>
                    <a:pt x="173" y="291"/>
                  </a:lnTo>
                  <a:lnTo>
                    <a:pt x="152" y="287"/>
                  </a:lnTo>
                  <a:lnTo>
                    <a:pt x="130" y="284"/>
                  </a:lnTo>
                  <a:lnTo>
                    <a:pt x="108" y="281"/>
                  </a:lnTo>
                  <a:lnTo>
                    <a:pt x="88" y="282"/>
                  </a:lnTo>
                  <a:lnTo>
                    <a:pt x="76" y="277"/>
                  </a:lnTo>
                  <a:lnTo>
                    <a:pt x="66" y="274"/>
                  </a:lnTo>
                  <a:lnTo>
                    <a:pt x="55" y="271"/>
                  </a:lnTo>
                  <a:lnTo>
                    <a:pt x="43" y="271"/>
                  </a:lnTo>
                  <a:lnTo>
                    <a:pt x="31" y="269"/>
                  </a:lnTo>
                  <a:lnTo>
                    <a:pt x="20" y="268"/>
                  </a:lnTo>
                  <a:lnTo>
                    <a:pt x="8" y="265"/>
                  </a:lnTo>
                  <a:lnTo>
                    <a:pt x="0" y="264"/>
                  </a:lnTo>
                  <a:lnTo>
                    <a:pt x="59" y="213"/>
                  </a:lnTo>
                  <a:lnTo>
                    <a:pt x="123" y="173"/>
                  </a:lnTo>
                  <a:lnTo>
                    <a:pt x="189" y="136"/>
                  </a:lnTo>
                  <a:lnTo>
                    <a:pt x="259" y="107"/>
                  </a:lnTo>
                  <a:lnTo>
                    <a:pt x="328" y="80"/>
                  </a:lnTo>
                  <a:lnTo>
                    <a:pt x="400" y="55"/>
                  </a:lnTo>
                  <a:lnTo>
                    <a:pt x="474" y="32"/>
                  </a:lnTo>
                  <a:lnTo>
                    <a:pt x="548" y="11"/>
                  </a:lnTo>
                  <a:lnTo>
                    <a:pt x="574" y="2"/>
                  </a:lnTo>
                  <a:lnTo>
                    <a:pt x="602" y="0"/>
                  </a:lnTo>
                  <a:lnTo>
                    <a:pt x="628" y="3"/>
                  </a:lnTo>
                  <a:lnTo>
                    <a:pt x="655" y="9"/>
                  </a:lnTo>
                  <a:lnTo>
                    <a:pt x="680" y="16"/>
                  </a:lnTo>
                  <a:lnTo>
                    <a:pt x="706" y="25"/>
                  </a:lnTo>
                  <a:lnTo>
                    <a:pt x="732" y="34"/>
                  </a:lnTo>
                  <a:lnTo>
                    <a:pt x="758" y="42"/>
                  </a:lnTo>
                  <a:lnTo>
                    <a:pt x="764" y="44"/>
                  </a:lnTo>
                  <a:lnTo>
                    <a:pt x="772" y="47"/>
                  </a:lnTo>
                  <a:lnTo>
                    <a:pt x="780" y="50"/>
                  </a:lnTo>
                  <a:lnTo>
                    <a:pt x="788" y="53"/>
                  </a:lnTo>
                  <a:lnTo>
                    <a:pt x="797" y="54"/>
                  </a:lnTo>
                  <a:lnTo>
                    <a:pt x="806" y="55"/>
                  </a:lnTo>
                  <a:lnTo>
                    <a:pt x="814" y="57"/>
                  </a:lnTo>
                  <a:lnTo>
                    <a:pt x="823" y="60"/>
                  </a:lnTo>
                  <a:close/>
                </a:path>
              </a:pathLst>
            </a:custGeom>
            <a:solidFill>
              <a:srgbClr val="FFB0B2"/>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71" name="Freeform 27"/>
            <p:cNvSpPr>
              <a:spLocks/>
            </p:cNvSpPr>
            <p:nvPr/>
          </p:nvSpPr>
          <p:spPr bwMode="auto">
            <a:xfrm>
              <a:off x="2630" y="1946"/>
              <a:ext cx="425" cy="90"/>
            </a:xfrm>
            <a:custGeom>
              <a:avLst/>
              <a:gdLst/>
              <a:ahLst/>
              <a:cxnLst>
                <a:cxn ang="0">
                  <a:pos x="832" y="65"/>
                </a:cxn>
                <a:cxn ang="0">
                  <a:pos x="858" y="63"/>
                </a:cxn>
                <a:cxn ang="0">
                  <a:pos x="885" y="50"/>
                </a:cxn>
                <a:cxn ang="0">
                  <a:pos x="916" y="30"/>
                </a:cxn>
                <a:cxn ang="0">
                  <a:pos x="946" y="13"/>
                </a:cxn>
                <a:cxn ang="0">
                  <a:pos x="979" y="3"/>
                </a:cxn>
                <a:cxn ang="0">
                  <a:pos x="1029" y="17"/>
                </a:cxn>
                <a:cxn ang="0">
                  <a:pos x="1083" y="47"/>
                </a:cxn>
                <a:cxn ang="0">
                  <a:pos x="1137" y="81"/>
                </a:cxn>
                <a:cxn ang="0">
                  <a:pos x="1191" y="117"/>
                </a:cxn>
                <a:cxn ang="0">
                  <a:pos x="1224" y="147"/>
                </a:cxn>
                <a:cxn ang="0">
                  <a:pos x="1240" y="166"/>
                </a:cxn>
                <a:cxn ang="0">
                  <a:pos x="1256" y="185"/>
                </a:cxn>
                <a:cxn ang="0">
                  <a:pos x="1269" y="204"/>
                </a:cxn>
                <a:cxn ang="0">
                  <a:pos x="1251" y="231"/>
                </a:cxn>
                <a:cxn ang="0">
                  <a:pos x="1205" y="238"/>
                </a:cxn>
                <a:cxn ang="0">
                  <a:pos x="1156" y="225"/>
                </a:cxn>
                <a:cxn ang="0">
                  <a:pos x="1107" y="211"/>
                </a:cxn>
                <a:cxn ang="0">
                  <a:pos x="1052" y="196"/>
                </a:cxn>
                <a:cxn ang="0">
                  <a:pos x="988" y="192"/>
                </a:cxn>
                <a:cxn ang="0">
                  <a:pos x="924" y="204"/>
                </a:cxn>
                <a:cxn ang="0">
                  <a:pos x="862" y="222"/>
                </a:cxn>
                <a:cxn ang="0">
                  <a:pos x="761" y="220"/>
                </a:cxn>
                <a:cxn ang="0">
                  <a:pos x="613" y="202"/>
                </a:cxn>
                <a:cxn ang="0">
                  <a:pos x="464" y="201"/>
                </a:cxn>
                <a:cxn ang="0">
                  <a:pos x="321" y="228"/>
                </a:cxn>
                <a:cxn ang="0">
                  <a:pos x="235" y="264"/>
                </a:cxn>
                <a:cxn ang="0">
                  <a:pos x="194" y="272"/>
                </a:cxn>
                <a:cxn ang="0">
                  <a:pos x="152" y="266"/>
                </a:cxn>
                <a:cxn ang="0">
                  <a:pos x="108" y="260"/>
                </a:cxn>
                <a:cxn ang="0">
                  <a:pos x="76" y="256"/>
                </a:cxn>
                <a:cxn ang="0">
                  <a:pos x="55" y="250"/>
                </a:cxn>
                <a:cxn ang="0">
                  <a:pos x="31" y="248"/>
                </a:cxn>
                <a:cxn ang="0">
                  <a:pos x="8" y="244"/>
                </a:cxn>
                <a:cxn ang="0">
                  <a:pos x="59" y="193"/>
                </a:cxn>
                <a:cxn ang="0">
                  <a:pos x="189" y="123"/>
                </a:cxn>
                <a:cxn ang="0">
                  <a:pos x="328" y="72"/>
                </a:cxn>
                <a:cxn ang="0">
                  <a:pos x="474" y="30"/>
                </a:cxn>
                <a:cxn ang="0">
                  <a:pos x="574" y="1"/>
                </a:cxn>
                <a:cxn ang="0">
                  <a:pos x="626" y="3"/>
                </a:cxn>
                <a:cxn ang="0">
                  <a:pos x="678" y="16"/>
                </a:cxn>
                <a:cxn ang="0">
                  <a:pos x="730" y="33"/>
                </a:cxn>
                <a:cxn ang="0">
                  <a:pos x="762" y="43"/>
                </a:cxn>
                <a:cxn ang="0">
                  <a:pos x="780" y="49"/>
                </a:cxn>
                <a:cxn ang="0">
                  <a:pos x="797" y="53"/>
                </a:cxn>
                <a:cxn ang="0">
                  <a:pos x="814" y="56"/>
                </a:cxn>
              </a:cxnLst>
              <a:rect l="0" t="0" r="r" b="b"/>
              <a:pathLst>
                <a:path w="1275" h="272">
                  <a:moveTo>
                    <a:pt x="823" y="59"/>
                  </a:moveTo>
                  <a:lnTo>
                    <a:pt x="832" y="65"/>
                  </a:lnTo>
                  <a:lnTo>
                    <a:pt x="845" y="66"/>
                  </a:lnTo>
                  <a:lnTo>
                    <a:pt x="858" y="63"/>
                  </a:lnTo>
                  <a:lnTo>
                    <a:pt x="869" y="60"/>
                  </a:lnTo>
                  <a:lnTo>
                    <a:pt x="885" y="50"/>
                  </a:lnTo>
                  <a:lnTo>
                    <a:pt x="901" y="42"/>
                  </a:lnTo>
                  <a:lnTo>
                    <a:pt x="916" y="30"/>
                  </a:lnTo>
                  <a:lnTo>
                    <a:pt x="932" y="21"/>
                  </a:lnTo>
                  <a:lnTo>
                    <a:pt x="946" y="13"/>
                  </a:lnTo>
                  <a:lnTo>
                    <a:pt x="963" y="7"/>
                  </a:lnTo>
                  <a:lnTo>
                    <a:pt x="979" y="3"/>
                  </a:lnTo>
                  <a:lnTo>
                    <a:pt x="1000" y="4"/>
                  </a:lnTo>
                  <a:lnTo>
                    <a:pt x="1029" y="17"/>
                  </a:lnTo>
                  <a:lnTo>
                    <a:pt x="1057" y="32"/>
                  </a:lnTo>
                  <a:lnTo>
                    <a:pt x="1083" y="47"/>
                  </a:lnTo>
                  <a:lnTo>
                    <a:pt x="1111" y="65"/>
                  </a:lnTo>
                  <a:lnTo>
                    <a:pt x="1137" y="81"/>
                  </a:lnTo>
                  <a:lnTo>
                    <a:pt x="1165" y="99"/>
                  </a:lnTo>
                  <a:lnTo>
                    <a:pt x="1191" y="117"/>
                  </a:lnTo>
                  <a:lnTo>
                    <a:pt x="1220" y="139"/>
                  </a:lnTo>
                  <a:lnTo>
                    <a:pt x="1224" y="147"/>
                  </a:lnTo>
                  <a:lnTo>
                    <a:pt x="1233" y="157"/>
                  </a:lnTo>
                  <a:lnTo>
                    <a:pt x="1240" y="166"/>
                  </a:lnTo>
                  <a:lnTo>
                    <a:pt x="1248" y="176"/>
                  </a:lnTo>
                  <a:lnTo>
                    <a:pt x="1256" y="185"/>
                  </a:lnTo>
                  <a:lnTo>
                    <a:pt x="1263" y="195"/>
                  </a:lnTo>
                  <a:lnTo>
                    <a:pt x="1269" y="204"/>
                  </a:lnTo>
                  <a:lnTo>
                    <a:pt x="1275" y="215"/>
                  </a:lnTo>
                  <a:lnTo>
                    <a:pt x="1251" y="231"/>
                  </a:lnTo>
                  <a:lnTo>
                    <a:pt x="1230" y="238"/>
                  </a:lnTo>
                  <a:lnTo>
                    <a:pt x="1205" y="238"/>
                  </a:lnTo>
                  <a:lnTo>
                    <a:pt x="1182" y="234"/>
                  </a:lnTo>
                  <a:lnTo>
                    <a:pt x="1156" y="225"/>
                  </a:lnTo>
                  <a:lnTo>
                    <a:pt x="1131" y="218"/>
                  </a:lnTo>
                  <a:lnTo>
                    <a:pt x="1107" y="211"/>
                  </a:lnTo>
                  <a:lnTo>
                    <a:pt x="1085" y="209"/>
                  </a:lnTo>
                  <a:lnTo>
                    <a:pt x="1052" y="196"/>
                  </a:lnTo>
                  <a:lnTo>
                    <a:pt x="1020" y="192"/>
                  </a:lnTo>
                  <a:lnTo>
                    <a:pt x="988" y="192"/>
                  </a:lnTo>
                  <a:lnTo>
                    <a:pt x="956" y="198"/>
                  </a:lnTo>
                  <a:lnTo>
                    <a:pt x="924" y="204"/>
                  </a:lnTo>
                  <a:lnTo>
                    <a:pt x="892" y="212"/>
                  </a:lnTo>
                  <a:lnTo>
                    <a:pt x="862" y="222"/>
                  </a:lnTo>
                  <a:lnTo>
                    <a:pt x="835" y="233"/>
                  </a:lnTo>
                  <a:lnTo>
                    <a:pt x="761" y="220"/>
                  </a:lnTo>
                  <a:lnTo>
                    <a:pt x="688" y="209"/>
                  </a:lnTo>
                  <a:lnTo>
                    <a:pt x="613" y="202"/>
                  </a:lnTo>
                  <a:lnTo>
                    <a:pt x="539" y="199"/>
                  </a:lnTo>
                  <a:lnTo>
                    <a:pt x="464" y="201"/>
                  </a:lnTo>
                  <a:lnTo>
                    <a:pt x="392" y="211"/>
                  </a:lnTo>
                  <a:lnTo>
                    <a:pt x="321" y="228"/>
                  </a:lnTo>
                  <a:lnTo>
                    <a:pt x="256" y="254"/>
                  </a:lnTo>
                  <a:lnTo>
                    <a:pt x="235" y="264"/>
                  </a:lnTo>
                  <a:lnTo>
                    <a:pt x="215" y="270"/>
                  </a:lnTo>
                  <a:lnTo>
                    <a:pt x="194" y="272"/>
                  </a:lnTo>
                  <a:lnTo>
                    <a:pt x="173" y="270"/>
                  </a:lnTo>
                  <a:lnTo>
                    <a:pt x="152" y="266"/>
                  </a:lnTo>
                  <a:lnTo>
                    <a:pt x="130" y="263"/>
                  </a:lnTo>
                  <a:lnTo>
                    <a:pt x="108" y="260"/>
                  </a:lnTo>
                  <a:lnTo>
                    <a:pt x="88" y="261"/>
                  </a:lnTo>
                  <a:lnTo>
                    <a:pt x="76" y="256"/>
                  </a:lnTo>
                  <a:lnTo>
                    <a:pt x="66" y="253"/>
                  </a:lnTo>
                  <a:lnTo>
                    <a:pt x="55" y="250"/>
                  </a:lnTo>
                  <a:lnTo>
                    <a:pt x="43" y="250"/>
                  </a:lnTo>
                  <a:lnTo>
                    <a:pt x="31" y="248"/>
                  </a:lnTo>
                  <a:lnTo>
                    <a:pt x="20" y="247"/>
                  </a:lnTo>
                  <a:lnTo>
                    <a:pt x="8" y="244"/>
                  </a:lnTo>
                  <a:lnTo>
                    <a:pt x="0" y="243"/>
                  </a:lnTo>
                  <a:lnTo>
                    <a:pt x="59" y="193"/>
                  </a:lnTo>
                  <a:lnTo>
                    <a:pt x="123" y="154"/>
                  </a:lnTo>
                  <a:lnTo>
                    <a:pt x="189" y="123"/>
                  </a:lnTo>
                  <a:lnTo>
                    <a:pt x="259" y="97"/>
                  </a:lnTo>
                  <a:lnTo>
                    <a:pt x="328" y="72"/>
                  </a:lnTo>
                  <a:lnTo>
                    <a:pt x="400" y="52"/>
                  </a:lnTo>
                  <a:lnTo>
                    <a:pt x="474" y="30"/>
                  </a:lnTo>
                  <a:lnTo>
                    <a:pt x="548" y="10"/>
                  </a:lnTo>
                  <a:lnTo>
                    <a:pt x="574" y="1"/>
                  </a:lnTo>
                  <a:lnTo>
                    <a:pt x="600" y="0"/>
                  </a:lnTo>
                  <a:lnTo>
                    <a:pt x="626" y="3"/>
                  </a:lnTo>
                  <a:lnTo>
                    <a:pt x="654" y="8"/>
                  </a:lnTo>
                  <a:lnTo>
                    <a:pt x="678" y="16"/>
                  </a:lnTo>
                  <a:lnTo>
                    <a:pt x="704" y="24"/>
                  </a:lnTo>
                  <a:lnTo>
                    <a:pt x="730" y="33"/>
                  </a:lnTo>
                  <a:lnTo>
                    <a:pt x="756" y="42"/>
                  </a:lnTo>
                  <a:lnTo>
                    <a:pt x="762" y="43"/>
                  </a:lnTo>
                  <a:lnTo>
                    <a:pt x="771" y="46"/>
                  </a:lnTo>
                  <a:lnTo>
                    <a:pt x="780" y="49"/>
                  </a:lnTo>
                  <a:lnTo>
                    <a:pt x="788" y="52"/>
                  </a:lnTo>
                  <a:lnTo>
                    <a:pt x="797" y="53"/>
                  </a:lnTo>
                  <a:lnTo>
                    <a:pt x="806" y="55"/>
                  </a:lnTo>
                  <a:lnTo>
                    <a:pt x="814" y="56"/>
                  </a:lnTo>
                  <a:lnTo>
                    <a:pt x="823" y="59"/>
                  </a:lnTo>
                  <a:close/>
                </a:path>
              </a:pathLst>
            </a:custGeom>
            <a:solidFill>
              <a:srgbClr val="FFB2B5"/>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72" name="Freeform 28"/>
            <p:cNvSpPr>
              <a:spLocks/>
            </p:cNvSpPr>
            <p:nvPr/>
          </p:nvSpPr>
          <p:spPr bwMode="auto">
            <a:xfrm>
              <a:off x="2630" y="1952"/>
              <a:ext cx="425" cy="84"/>
            </a:xfrm>
            <a:custGeom>
              <a:avLst/>
              <a:gdLst/>
              <a:ahLst/>
              <a:cxnLst>
                <a:cxn ang="0">
                  <a:pos x="832" y="65"/>
                </a:cxn>
                <a:cxn ang="0">
                  <a:pos x="861" y="62"/>
                </a:cxn>
                <a:cxn ang="0">
                  <a:pos x="888" y="49"/>
                </a:cxn>
                <a:cxn ang="0">
                  <a:pos x="919" y="30"/>
                </a:cxn>
                <a:cxn ang="0">
                  <a:pos x="946" y="13"/>
                </a:cxn>
                <a:cxn ang="0">
                  <a:pos x="979" y="3"/>
                </a:cxn>
                <a:cxn ang="0">
                  <a:pos x="1027" y="16"/>
                </a:cxn>
                <a:cxn ang="0">
                  <a:pos x="1083" y="42"/>
                </a:cxn>
                <a:cxn ang="0">
                  <a:pos x="1137" y="66"/>
                </a:cxn>
                <a:cxn ang="0">
                  <a:pos x="1191" y="98"/>
                </a:cxn>
                <a:cxn ang="0">
                  <a:pos x="1224" y="127"/>
                </a:cxn>
                <a:cxn ang="0">
                  <a:pos x="1240" y="146"/>
                </a:cxn>
                <a:cxn ang="0">
                  <a:pos x="1256" y="165"/>
                </a:cxn>
                <a:cxn ang="0">
                  <a:pos x="1269" y="184"/>
                </a:cxn>
                <a:cxn ang="0">
                  <a:pos x="1251" y="211"/>
                </a:cxn>
                <a:cxn ang="0">
                  <a:pos x="1205" y="218"/>
                </a:cxn>
                <a:cxn ang="0">
                  <a:pos x="1156" y="205"/>
                </a:cxn>
                <a:cxn ang="0">
                  <a:pos x="1107" y="191"/>
                </a:cxn>
                <a:cxn ang="0">
                  <a:pos x="1052" y="176"/>
                </a:cxn>
                <a:cxn ang="0">
                  <a:pos x="988" y="172"/>
                </a:cxn>
                <a:cxn ang="0">
                  <a:pos x="924" y="184"/>
                </a:cxn>
                <a:cxn ang="0">
                  <a:pos x="862" y="202"/>
                </a:cxn>
                <a:cxn ang="0">
                  <a:pos x="761" y="200"/>
                </a:cxn>
                <a:cxn ang="0">
                  <a:pos x="613" y="182"/>
                </a:cxn>
                <a:cxn ang="0">
                  <a:pos x="464" y="181"/>
                </a:cxn>
                <a:cxn ang="0">
                  <a:pos x="321" y="208"/>
                </a:cxn>
                <a:cxn ang="0">
                  <a:pos x="235" y="244"/>
                </a:cxn>
                <a:cxn ang="0">
                  <a:pos x="194" y="252"/>
                </a:cxn>
                <a:cxn ang="0">
                  <a:pos x="152" y="246"/>
                </a:cxn>
                <a:cxn ang="0">
                  <a:pos x="108" y="240"/>
                </a:cxn>
                <a:cxn ang="0">
                  <a:pos x="76" y="236"/>
                </a:cxn>
                <a:cxn ang="0">
                  <a:pos x="55" y="230"/>
                </a:cxn>
                <a:cxn ang="0">
                  <a:pos x="31" y="228"/>
                </a:cxn>
                <a:cxn ang="0">
                  <a:pos x="8" y="224"/>
                </a:cxn>
                <a:cxn ang="0">
                  <a:pos x="59" y="173"/>
                </a:cxn>
                <a:cxn ang="0">
                  <a:pos x="189" y="108"/>
                </a:cxn>
                <a:cxn ang="0">
                  <a:pos x="328" y="66"/>
                </a:cxn>
                <a:cxn ang="0">
                  <a:pos x="474" y="30"/>
                </a:cxn>
                <a:cxn ang="0">
                  <a:pos x="574" y="1"/>
                </a:cxn>
                <a:cxn ang="0">
                  <a:pos x="626" y="3"/>
                </a:cxn>
                <a:cxn ang="0">
                  <a:pos x="678" y="16"/>
                </a:cxn>
                <a:cxn ang="0">
                  <a:pos x="729" y="33"/>
                </a:cxn>
                <a:cxn ang="0">
                  <a:pos x="761" y="43"/>
                </a:cxn>
                <a:cxn ang="0">
                  <a:pos x="778" y="49"/>
                </a:cxn>
                <a:cxn ang="0">
                  <a:pos x="796" y="53"/>
                </a:cxn>
                <a:cxn ang="0">
                  <a:pos x="813" y="56"/>
                </a:cxn>
              </a:cxnLst>
              <a:rect l="0" t="0" r="r" b="b"/>
              <a:pathLst>
                <a:path w="1275" h="252">
                  <a:moveTo>
                    <a:pt x="823" y="59"/>
                  </a:moveTo>
                  <a:lnTo>
                    <a:pt x="832" y="65"/>
                  </a:lnTo>
                  <a:lnTo>
                    <a:pt x="846" y="65"/>
                  </a:lnTo>
                  <a:lnTo>
                    <a:pt x="861" y="62"/>
                  </a:lnTo>
                  <a:lnTo>
                    <a:pt x="874" y="59"/>
                  </a:lnTo>
                  <a:lnTo>
                    <a:pt x="888" y="49"/>
                  </a:lnTo>
                  <a:lnTo>
                    <a:pt x="904" y="40"/>
                  </a:lnTo>
                  <a:lnTo>
                    <a:pt x="919" y="30"/>
                  </a:lnTo>
                  <a:lnTo>
                    <a:pt x="933" y="22"/>
                  </a:lnTo>
                  <a:lnTo>
                    <a:pt x="946" y="13"/>
                  </a:lnTo>
                  <a:lnTo>
                    <a:pt x="962" y="7"/>
                  </a:lnTo>
                  <a:lnTo>
                    <a:pt x="979" y="3"/>
                  </a:lnTo>
                  <a:lnTo>
                    <a:pt x="998" y="4"/>
                  </a:lnTo>
                  <a:lnTo>
                    <a:pt x="1027" y="16"/>
                  </a:lnTo>
                  <a:lnTo>
                    <a:pt x="1056" y="29"/>
                  </a:lnTo>
                  <a:lnTo>
                    <a:pt x="1083" y="42"/>
                  </a:lnTo>
                  <a:lnTo>
                    <a:pt x="1111" y="55"/>
                  </a:lnTo>
                  <a:lnTo>
                    <a:pt x="1137" y="66"/>
                  </a:lnTo>
                  <a:lnTo>
                    <a:pt x="1165" y="82"/>
                  </a:lnTo>
                  <a:lnTo>
                    <a:pt x="1191" y="98"/>
                  </a:lnTo>
                  <a:lnTo>
                    <a:pt x="1220" y="119"/>
                  </a:lnTo>
                  <a:lnTo>
                    <a:pt x="1224" y="127"/>
                  </a:lnTo>
                  <a:lnTo>
                    <a:pt x="1233" y="137"/>
                  </a:lnTo>
                  <a:lnTo>
                    <a:pt x="1240" y="146"/>
                  </a:lnTo>
                  <a:lnTo>
                    <a:pt x="1248" y="156"/>
                  </a:lnTo>
                  <a:lnTo>
                    <a:pt x="1256" y="165"/>
                  </a:lnTo>
                  <a:lnTo>
                    <a:pt x="1263" y="175"/>
                  </a:lnTo>
                  <a:lnTo>
                    <a:pt x="1269" y="184"/>
                  </a:lnTo>
                  <a:lnTo>
                    <a:pt x="1275" y="195"/>
                  </a:lnTo>
                  <a:lnTo>
                    <a:pt x="1251" y="211"/>
                  </a:lnTo>
                  <a:lnTo>
                    <a:pt x="1230" y="218"/>
                  </a:lnTo>
                  <a:lnTo>
                    <a:pt x="1205" y="218"/>
                  </a:lnTo>
                  <a:lnTo>
                    <a:pt x="1182" y="214"/>
                  </a:lnTo>
                  <a:lnTo>
                    <a:pt x="1156" y="205"/>
                  </a:lnTo>
                  <a:lnTo>
                    <a:pt x="1131" y="198"/>
                  </a:lnTo>
                  <a:lnTo>
                    <a:pt x="1107" y="191"/>
                  </a:lnTo>
                  <a:lnTo>
                    <a:pt x="1085" y="189"/>
                  </a:lnTo>
                  <a:lnTo>
                    <a:pt x="1052" y="176"/>
                  </a:lnTo>
                  <a:lnTo>
                    <a:pt x="1020" y="172"/>
                  </a:lnTo>
                  <a:lnTo>
                    <a:pt x="988" y="172"/>
                  </a:lnTo>
                  <a:lnTo>
                    <a:pt x="956" y="178"/>
                  </a:lnTo>
                  <a:lnTo>
                    <a:pt x="924" y="184"/>
                  </a:lnTo>
                  <a:lnTo>
                    <a:pt x="892" y="192"/>
                  </a:lnTo>
                  <a:lnTo>
                    <a:pt x="862" y="202"/>
                  </a:lnTo>
                  <a:lnTo>
                    <a:pt x="835" y="213"/>
                  </a:lnTo>
                  <a:lnTo>
                    <a:pt x="761" y="200"/>
                  </a:lnTo>
                  <a:lnTo>
                    <a:pt x="688" y="189"/>
                  </a:lnTo>
                  <a:lnTo>
                    <a:pt x="613" y="182"/>
                  </a:lnTo>
                  <a:lnTo>
                    <a:pt x="539" y="179"/>
                  </a:lnTo>
                  <a:lnTo>
                    <a:pt x="464" y="181"/>
                  </a:lnTo>
                  <a:lnTo>
                    <a:pt x="392" y="191"/>
                  </a:lnTo>
                  <a:lnTo>
                    <a:pt x="321" y="208"/>
                  </a:lnTo>
                  <a:lnTo>
                    <a:pt x="256" y="234"/>
                  </a:lnTo>
                  <a:lnTo>
                    <a:pt x="235" y="244"/>
                  </a:lnTo>
                  <a:lnTo>
                    <a:pt x="215" y="250"/>
                  </a:lnTo>
                  <a:lnTo>
                    <a:pt x="194" y="252"/>
                  </a:lnTo>
                  <a:lnTo>
                    <a:pt x="173" y="250"/>
                  </a:lnTo>
                  <a:lnTo>
                    <a:pt x="152" y="246"/>
                  </a:lnTo>
                  <a:lnTo>
                    <a:pt x="130" y="243"/>
                  </a:lnTo>
                  <a:lnTo>
                    <a:pt x="108" y="240"/>
                  </a:lnTo>
                  <a:lnTo>
                    <a:pt x="88" y="241"/>
                  </a:lnTo>
                  <a:lnTo>
                    <a:pt x="76" y="236"/>
                  </a:lnTo>
                  <a:lnTo>
                    <a:pt x="66" y="233"/>
                  </a:lnTo>
                  <a:lnTo>
                    <a:pt x="55" y="230"/>
                  </a:lnTo>
                  <a:lnTo>
                    <a:pt x="43" y="230"/>
                  </a:lnTo>
                  <a:lnTo>
                    <a:pt x="31" y="228"/>
                  </a:lnTo>
                  <a:lnTo>
                    <a:pt x="20" y="227"/>
                  </a:lnTo>
                  <a:lnTo>
                    <a:pt x="8" y="224"/>
                  </a:lnTo>
                  <a:lnTo>
                    <a:pt x="0" y="223"/>
                  </a:lnTo>
                  <a:lnTo>
                    <a:pt x="59" y="173"/>
                  </a:lnTo>
                  <a:lnTo>
                    <a:pt x="123" y="137"/>
                  </a:lnTo>
                  <a:lnTo>
                    <a:pt x="189" y="108"/>
                  </a:lnTo>
                  <a:lnTo>
                    <a:pt x="259" y="87"/>
                  </a:lnTo>
                  <a:lnTo>
                    <a:pt x="328" y="66"/>
                  </a:lnTo>
                  <a:lnTo>
                    <a:pt x="400" y="49"/>
                  </a:lnTo>
                  <a:lnTo>
                    <a:pt x="474" y="30"/>
                  </a:lnTo>
                  <a:lnTo>
                    <a:pt x="548" y="10"/>
                  </a:lnTo>
                  <a:lnTo>
                    <a:pt x="574" y="1"/>
                  </a:lnTo>
                  <a:lnTo>
                    <a:pt x="600" y="0"/>
                  </a:lnTo>
                  <a:lnTo>
                    <a:pt x="626" y="3"/>
                  </a:lnTo>
                  <a:lnTo>
                    <a:pt x="654" y="9"/>
                  </a:lnTo>
                  <a:lnTo>
                    <a:pt x="678" y="16"/>
                  </a:lnTo>
                  <a:lnTo>
                    <a:pt x="704" y="25"/>
                  </a:lnTo>
                  <a:lnTo>
                    <a:pt x="729" y="33"/>
                  </a:lnTo>
                  <a:lnTo>
                    <a:pt x="755" y="42"/>
                  </a:lnTo>
                  <a:lnTo>
                    <a:pt x="761" y="43"/>
                  </a:lnTo>
                  <a:lnTo>
                    <a:pt x="769" y="46"/>
                  </a:lnTo>
                  <a:lnTo>
                    <a:pt x="778" y="49"/>
                  </a:lnTo>
                  <a:lnTo>
                    <a:pt x="787" y="52"/>
                  </a:lnTo>
                  <a:lnTo>
                    <a:pt x="796" y="53"/>
                  </a:lnTo>
                  <a:lnTo>
                    <a:pt x="804" y="55"/>
                  </a:lnTo>
                  <a:lnTo>
                    <a:pt x="813" y="56"/>
                  </a:lnTo>
                  <a:lnTo>
                    <a:pt x="823" y="59"/>
                  </a:lnTo>
                  <a:close/>
                </a:path>
              </a:pathLst>
            </a:custGeom>
            <a:solidFill>
              <a:srgbClr val="FFB5B7"/>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73" name="Freeform 29"/>
            <p:cNvSpPr>
              <a:spLocks/>
            </p:cNvSpPr>
            <p:nvPr/>
          </p:nvSpPr>
          <p:spPr bwMode="auto">
            <a:xfrm>
              <a:off x="2630" y="1959"/>
              <a:ext cx="425" cy="77"/>
            </a:xfrm>
            <a:custGeom>
              <a:avLst/>
              <a:gdLst/>
              <a:ahLst/>
              <a:cxnLst>
                <a:cxn ang="0">
                  <a:pos x="833" y="65"/>
                </a:cxn>
                <a:cxn ang="0">
                  <a:pos x="855" y="61"/>
                </a:cxn>
                <a:cxn ang="0">
                  <a:pos x="871" y="57"/>
                </a:cxn>
                <a:cxn ang="0">
                  <a:pos x="891" y="46"/>
                </a:cxn>
                <a:cxn ang="0">
                  <a:pos x="920" y="29"/>
                </a:cxn>
                <a:cxn ang="0">
                  <a:pos x="947" y="12"/>
                </a:cxn>
                <a:cxn ang="0">
                  <a:pos x="978" y="3"/>
                </a:cxn>
                <a:cxn ang="0">
                  <a:pos x="1026" y="15"/>
                </a:cxn>
                <a:cxn ang="0">
                  <a:pos x="1083" y="35"/>
                </a:cxn>
                <a:cxn ang="0">
                  <a:pos x="1137" y="52"/>
                </a:cxn>
                <a:cxn ang="0">
                  <a:pos x="1191" y="80"/>
                </a:cxn>
                <a:cxn ang="0">
                  <a:pos x="1224" y="107"/>
                </a:cxn>
                <a:cxn ang="0">
                  <a:pos x="1240" y="126"/>
                </a:cxn>
                <a:cxn ang="0">
                  <a:pos x="1256" y="145"/>
                </a:cxn>
                <a:cxn ang="0">
                  <a:pos x="1269" y="164"/>
                </a:cxn>
                <a:cxn ang="0">
                  <a:pos x="1251" y="191"/>
                </a:cxn>
                <a:cxn ang="0">
                  <a:pos x="1205" y="198"/>
                </a:cxn>
                <a:cxn ang="0">
                  <a:pos x="1156" y="185"/>
                </a:cxn>
                <a:cxn ang="0">
                  <a:pos x="1107" y="171"/>
                </a:cxn>
                <a:cxn ang="0">
                  <a:pos x="1052" y="156"/>
                </a:cxn>
                <a:cxn ang="0">
                  <a:pos x="988" y="152"/>
                </a:cxn>
                <a:cxn ang="0">
                  <a:pos x="924" y="164"/>
                </a:cxn>
                <a:cxn ang="0">
                  <a:pos x="862" y="182"/>
                </a:cxn>
                <a:cxn ang="0">
                  <a:pos x="761" y="180"/>
                </a:cxn>
                <a:cxn ang="0">
                  <a:pos x="613" y="162"/>
                </a:cxn>
                <a:cxn ang="0">
                  <a:pos x="464" y="161"/>
                </a:cxn>
                <a:cxn ang="0">
                  <a:pos x="321" y="188"/>
                </a:cxn>
                <a:cxn ang="0">
                  <a:pos x="235" y="224"/>
                </a:cxn>
                <a:cxn ang="0">
                  <a:pos x="194" y="232"/>
                </a:cxn>
                <a:cxn ang="0">
                  <a:pos x="152" y="226"/>
                </a:cxn>
                <a:cxn ang="0">
                  <a:pos x="108" y="220"/>
                </a:cxn>
                <a:cxn ang="0">
                  <a:pos x="76" y="216"/>
                </a:cxn>
                <a:cxn ang="0">
                  <a:pos x="55" y="210"/>
                </a:cxn>
                <a:cxn ang="0">
                  <a:pos x="31" y="208"/>
                </a:cxn>
                <a:cxn ang="0">
                  <a:pos x="8" y="204"/>
                </a:cxn>
                <a:cxn ang="0">
                  <a:pos x="59" y="155"/>
                </a:cxn>
                <a:cxn ang="0">
                  <a:pos x="189" y="96"/>
                </a:cxn>
                <a:cxn ang="0">
                  <a:pos x="328" y="59"/>
                </a:cxn>
                <a:cxn ang="0">
                  <a:pos x="474" y="29"/>
                </a:cxn>
                <a:cxn ang="0">
                  <a:pos x="574" y="2"/>
                </a:cxn>
                <a:cxn ang="0">
                  <a:pos x="626" y="3"/>
                </a:cxn>
                <a:cxn ang="0">
                  <a:pos x="677" y="16"/>
                </a:cxn>
                <a:cxn ang="0">
                  <a:pos x="728" y="32"/>
                </a:cxn>
                <a:cxn ang="0">
                  <a:pos x="761" y="44"/>
                </a:cxn>
                <a:cxn ang="0">
                  <a:pos x="778" y="49"/>
                </a:cxn>
                <a:cxn ang="0">
                  <a:pos x="796" y="54"/>
                </a:cxn>
                <a:cxn ang="0">
                  <a:pos x="813" y="57"/>
                </a:cxn>
              </a:cxnLst>
              <a:rect l="0" t="0" r="r" b="b"/>
              <a:pathLst>
                <a:path w="1275" h="232">
                  <a:moveTo>
                    <a:pt x="823" y="59"/>
                  </a:moveTo>
                  <a:lnTo>
                    <a:pt x="833" y="65"/>
                  </a:lnTo>
                  <a:lnTo>
                    <a:pt x="848" y="64"/>
                  </a:lnTo>
                  <a:lnTo>
                    <a:pt x="855" y="61"/>
                  </a:lnTo>
                  <a:lnTo>
                    <a:pt x="864" y="59"/>
                  </a:lnTo>
                  <a:lnTo>
                    <a:pt x="871" y="57"/>
                  </a:lnTo>
                  <a:lnTo>
                    <a:pt x="877" y="57"/>
                  </a:lnTo>
                  <a:lnTo>
                    <a:pt x="891" y="46"/>
                  </a:lnTo>
                  <a:lnTo>
                    <a:pt x="907" y="38"/>
                  </a:lnTo>
                  <a:lnTo>
                    <a:pt x="920" y="29"/>
                  </a:lnTo>
                  <a:lnTo>
                    <a:pt x="934" y="20"/>
                  </a:lnTo>
                  <a:lnTo>
                    <a:pt x="947" y="12"/>
                  </a:lnTo>
                  <a:lnTo>
                    <a:pt x="962" y="6"/>
                  </a:lnTo>
                  <a:lnTo>
                    <a:pt x="978" y="3"/>
                  </a:lnTo>
                  <a:lnTo>
                    <a:pt x="997" y="5"/>
                  </a:lnTo>
                  <a:lnTo>
                    <a:pt x="1026" y="15"/>
                  </a:lnTo>
                  <a:lnTo>
                    <a:pt x="1056" y="26"/>
                  </a:lnTo>
                  <a:lnTo>
                    <a:pt x="1083" y="35"/>
                  </a:lnTo>
                  <a:lnTo>
                    <a:pt x="1111" y="44"/>
                  </a:lnTo>
                  <a:lnTo>
                    <a:pt x="1137" y="52"/>
                  </a:lnTo>
                  <a:lnTo>
                    <a:pt x="1165" y="65"/>
                  </a:lnTo>
                  <a:lnTo>
                    <a:pt x="1191" y="80"/>
                  </a:lnTo>
                  <a:lnTo>
                    <a:pt x="1220" y="99"/>
                  </a:lnTo>
                  <a:lnTo>
                    <a:pt x="1224" y="107"/>
                  </a:lnTo>
                  <a:lnTo>
                    <a:pt x="1233" y="117"/>
                  </a:lnTo>
                  <a:lnTo>
                    <a:pt x="1240" y="126"/>
                  </a:lnTo>
                  <a:lnTo>
                    <a:pt x="1248" y="136"/>
                  </a:lnTo>
                  <a:lnTo>
                    <a:pt x="1256" y="145"/>
                  </a:lnTo>
                  <a:lnTo>
                    <a:pt x="1263" y="155"/>
                  </a:lnTo>
                  <a:lnTo>
                    <a:pt x="1269" y="164"/>
                  </a:lnTo>
                  <a:lnTo>
                    <a:pt x="1275" y="175"/>
                  </a:lnTo>
                  <a:lnTo>
                    <a:pt x="1251" y="191"/>
                  </a:lnTo>
                  <a:lnTo>
                    <a:pt x="1230" y="198"/>
                  </a:lnTo>
                  <a:lnTo>
                    <a:pt x="1205" y="198"/>
                  </a:lnTo>
                  <a:lnTo>
                    <a:pt x="1182" y="194"/>
                  </a:lnTo>
                  <a:lnTo>
                    <a:pt x="1156" y="185"/>
                  </a:lnTo>
                  <a:lnTo>
                    <a:pt x="1131" y="178"/>
                  </a:lnTo>
                  <a:lnTo>
                    <a:pt x="1107" y="171"/>
                  </a:lnTo>
                  <a:lnTo>
                    <a:pt x="1085" y="169"/>
                  </a:lnTo>
                  <a:lnTo>
                    <a:pt x="1052" y="156"/>
                  </a:lnTo>
                  <a:lnTo>
                    <a:pt x="1020" y="152"/>
                  </a:lnTo>
                  <a:lnTo>
                    <a:pt x="988" y="152"/>
                  </a:lnTo>
                  <a:lnTo>
                    <a:pt x="956" y="158"/>
                  </a:lnTo>
                  <a:lnTo>
                    <a:pt x="924" y="164"/>
                  </a:lnTo>
                  <a:lnTo>
                    <a:pt x="892" y="172"/>
                  </a:lnTo>
                  <a:lnTo>
                    <a:pt x="862" y="182"/>
                  </a:lnTo>
                  <a:lnTo>
                    <a:pt x="835" y="193"/>
                  </a:lnTo>
                  <a:lnTo>
                    <a:pt x="761" y="180"/>
                  </a:lnTo>
                  <a:lnTo>
                    <a:pt x="688" y="169"/>
                  </a:lnTo>
                  <a:lnTo>
                    <a:pt x="613" y="162"/>
                  </a:lnTo>
                  <a:lnTo>
                    <a:pt x="539" y="159"/>
                  </a:lnTo>
                  <a:lnTo>
                    <a:pt x="464" y="161"/>
                  </a:lnTo>
                  <a:lnTo>
                    <a:pt x="392" y="171"/>
                  </a:lnTo>
                  <a:lnTo>
                    <a:pt x="321" y="188"/>
                  </a:lnTo>
                  <a:lnTo>
                    <a:pt x="256" y="214"/>
                  </a:lnTo>
                  <a:lnTo>
                    <a:pt x="235" y="224"/>
                  </a:lnTo>
                  <a:lnTo>
                    <a:pt x="215" y="230"/>
                  </a:lnTo>
                  <a:lnTo>
                    <a:pt x="194" y="232"/>
                  </a:lnTo>
                  <a:lnTo>
                    <a:pt x="173" y="230"/>
                  </a:lnTo>
                  <a:lnTo>
                    <a:pt x="152" y="226"/>
                  </a:lnTo>
                  <a:lnTo>
                    <a:pt x="130" y="223"/>
                  </a:lnTo>
                  <a:lnTo>
                    <a:pt x="108" y="220"/>
                  </a:lnTo>
                  <a:lnTo>
                    <a:pt x="88" y="221"/>
                  </a:lnTo>
                  <a:lnTo>
                    <a:pt x="76" y="216"/>
                  </a:lnTo>
                  <a:lnTo>
                    <a:pt x="66" y="213"/>
                  </a:lnTo>
                  <a:lnTo>
                    <a:pt x="55" y="210"/>
                  </a:lnTo>
                  <a:lnTo>
                    <a:pt x="43" y="210"/>
                  </a:lnTo>
                  <a:lnTo>
                    <a:pt x="31" y="208"/>
                  </a:lnTo>
                  <a:lnTo>
                    <a:pt x="20" y="207"/>
                  </a:lnTo>
                  <a:lnTo>
                    <a:pt x="8" y="204"/>
                  </a:lnTo>
                  <a:lnTo>
                    <a:pt x="0" y="203"/>
                  </a:lnTo>
                  <a:lnTo>
                    <a:pt x="59" y="155"/>
                  </a:lnTo>
                  <a:lnTo>
                    <a:pt x="123" y="122"/>
                  </a:lnTo>
                  <a:lnTo>
                    <a:pt x="189" y="96"/>
                  </a:lnTo>
                  <a:lnTo>
                    <a:pt x="259" y="77"/>
                  </a:lnTo>
                  <a:lnTo>
                    <a:pt x="328" y="59"/>
                  </a:lnTo>
                  <a:lnTo>
                    <a:pt x="400" y="45"/>
                  </a:lnTo>
                  <a:lnTo>
                    <a:pt x="474" y="29"/>
                  </a:lnTo>
                  <a:lnTo>
                    <a:pt x="548" y="10"/>
                  </a:lnTo>
                  <a:lnTo>
                    <a:pt x="574" y="2"/>
                  </a:lnTo>
                  <a:lnTo>
                    <a:pt x="600" y="0"/>
                  </a:lnTo>
                  <a:lnTo>
                    <a:pt x="626" y="3"/>
                  </a:lnTo>
                  <a:lnTo>
                    <a:pt x="652" y="9"/>
                  </a:lnTo>
                  <a:lnTo>
                    <a:pt x="677" y="16"/>
                  </a:lnTo>
                  <a:lnTo>
                    <a:pt x="703" y="25"/>
                  </a:lnTo>
                  <a:lnTo>
                    <a:pt x="728" y="32"/>
                  </a:lnTo>
                  <a:lnTo>
                    <a:pt x="754" y="41"/>
                  </a:lnTo>
                  <a:lnTo>
                    <a:pt x="761" y="44"/>
                  </a:lnTo>
                  <a:lnTo>
                    <a:pt x="769" y="46"/>
                  </a:lnTo>
                  <a:lnTo>
                    <a:pt x="778" y="49"/>
                  </a:lnTo>
                  <a:lnTo>
                    <a:pt x="787" y="52"/>
                  </a:lnTo>
                  <a:lnTo>
                    <a:pt x="796" y="54"/>
                  </a:lnTo>
                  <a:lnTo>
                    <a:pt x="804" y="55"/>
                  </a:lnTo>
                  <a:lnTo>
                    <a:pt x="813" y="57"/>
                  </a:lnTo>
                  <a:lnTo>
                    <a:pt x="823" y="59"/>
                  </a:lnTo>
                  <a:close/>
                </a:path>
              </a:pathLst>
            </a:custGeom>
            <a:solidFill>
              <a:srgbClr val="FFB7BA"/>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74" name="Freeform 30"/>
            <p:cNvSpPr>
              <a:spLocks/>
            </p:cNvSpPr>
            <p:nvPr/>
          </p:nvSpPr>
          <p:spPr bwMode="auto">
            <a:xfrm>
              <a:off x="2630" y="1966"/>
              <a:ext cx="425" cy="70"/>
            </a:xfrm>
            <a:custGeom>
              <a:avLst/>
              <a:gdLst/>
              <a:ahLst/>
              <a:cxnLst>
                <a:cxn ang="0">
                  <a:pos x="826" y="63"/>
                </a:cxn>
                <a:cxn ang="0">
                  <a:pos x="840" y="64"/>
                </a:cxn>
                <a:cxn ang="0">
                  <a:pos x="858" y="61"/>
                </a:cxn>
                <a:cxn ang="0">
                  <a:pos x="872" y="55"/>
                </a:cxn>
                <a:cxn ang="0">
                  <a:pos x="894" y="45"/>
                </a:cxn>
                <a:cxn ang="0">
                  <a:pos x="921" y="28"/>
                </a:cxn>
                <a:cxn ang="0">
                  <a:pos x="947" y="11"/>
                </a:cxn>
                <a:cxn ang="0">
                  <a:pos x="976" y="3"/>
                </a:cxn>
                <a:cxn ang="0">
                  <a:pos x="1026" y="15"/>
                </a:cxn>
                <a:cxn ang="0">
                  <a:pos x="1082" y="28"/>
                </a:cxn>
                <a:cxn ang="0">
                  <a:pos x="1136" y="38"/>
                </a:cxn>
                <a:cxn ang="0">
                  <a:pos x="1191" y="60"/>
                </a:cxn>
                <a:cxn ang="0">
                  <a:pos x="1224" y="87"/>
                </a:cxn>
                <a:cxn ang="0">
                  <a:pos x="1240" y="106"/>
                </a:cxn>
                <a:cxn ang="0">
                  <a:pos x="1256" y="125"/>
                </a:cxn>
                <a:cxn ang="0">
                  <a:pos x="1269" y="144"/>
                </a:cxn>
                <a:cxn ang="0">
                  <a:pos x="1251" y="171"/>
                </a:cxn>
                <a:cxn ang="0">
                  <a:pos x="1205" y="178"/>
                </a:cxn>
                <a:cxn ang="0">
                  <a:pos x="1156" y="165"/>
                </a:cxn>
                <a:cxn ang="0">
                  <a:pos x="1107" y="151"/>
                </a:cxn>
                <a:cxn ang="0">
                  <a:pos x="1052" y="136"/>
                </a:cxn>
                <a:cxn ang="0">
                  <a:pos x="988" y="132"/>
                </a:cxn>
                <a:cxn ang="0">
                  <a:pos x="924" y="144"/>
                </a:cxn>
                <a:cxn ang="0">
                  <a:pos x="862" y="162"/>
                </a:cxn>
                <a:cxn ang="0">
                  <a:pos x="761" y="160"/>
                </a:cxn>
                <a:cxn ang="0">
                  <a:pos x="613" y="142"/>
                </a:cxn>
                <a:cxn ang="0">
                  <a:pos x="464" y="141"/>
                </a:cxn>
                <a:cxn ang="0">
                  <a:pos x="321" y="168"/>
                </a:cxn>
                <a:cxn ang="0">
                  <a:pos x="235" y="204"/>
                </a:cxn>
                <a:cxn ang="0">
                  <a:pos x="194" y="212"/>
                </a:cxn>
                <a:cxn ang="0">
                  <a:pos x="152" y="206"/>
                </a:cxn>
                <a:cxn ang="0">
                  <a:pos x="108" y="200"/>
                </a:cxn>
                <a:cxn ang="0">
                  <a:pos x="76" y="196"/>
                </a:cxn>
                <a:cxn ang="0">
                  <a:pos x="55" y="190"/>
                </a:cxn>
                <a:cxn ang="0">
                  <a:pos x="31" y="188"/>
                </a:cxn>
                <a:cxn ang="0">
                  <a:pos x="8" y="184"/>
                </a:cxn>
                <a:cxn ang="0">
                  <a:pos x="59" y="136"/>
                </a:cxn>
                <a:cxn ang="0">
                  <a:pos x="189" y="81"/>
                </a:cxn>
                <a:cxn ang="0">
                  <a:pos x="328" y="54"/>
                </a:cxn>
                <a:cxn ang="0">
                  <a:pos x="474" y="28"/>
                </a:cxn>
                <a:cxn ang="0">
                  <a:pos x="574" y="2"/>
                </a:cxn>
                <a:cxn ang="0">
                  <a:pos x="626" y="3"/>
                </a:cxn>
                <a:cxn ang="0">
                  <a:pos x="677" y="16"/>
                </a:cxn>
                <a:cxn ang="0">
                  <a:pos x="728" y="32"/>
                </a:cxn>
                <a:cxn ang="0">
                  <a:pos x="759" y="44"/>
                </a:cxn>
                <a:cxn ang="0">
                  <a:pos x="777" y="50"/>
                </a:cxn>
                <a:cxn ang="0">
                  <a:pos x="796" y="54"/>
                </a:cxn>
                <a:cxn ang="0">
                  <a:pos x="813" y="57"/>
                </a:cxn>
              </a:cxnLst>
              <a:rect l="0" t="0" r="r" b="b"/>
              <a:pathLst>
                <a:path w="1275" h="212">
                  <a:moveTo>
                    <a:pt x="823" y="60"/>
                  </a:moveTo>
                  <a:lnTo>
                    <a:pt x="826" y="63"/>
                  </a:lnTo>
                  <a:lnTo>
                    <a:pt x="833" y="64"/>
                  </a:lnTo>
                  <a:lnTo>
                    <a:pt x="840" y="64"/>
                  </a:lnTo>
                  <a:lnTo>
                    <a:pt x="849" y="64"/>
                  </a:lnTo>
                  <a:lnTo>
                    <a:pt x="858" y="61"/>
                  </a:lnTo>
                  <a:lnTo>
                    <a:pt x="866" y="58"/>
                  </a:lnTo>
                  <a:lnTo>
                    <a:pt x="872" y="55"/>
                  </a:lnTo>
                  <a:lnTo>
                    <a:pt x="879" y="55"/>
                  </a:lnTo>
                  <a:lnTo>
                    <a:pt x="894" y="45"/>
                  </a:lnTo>
                  <a:lnTo>
                    <a:pt x="908" y="37"/>
                  </a:lnTo>
                  <a:lnTo>
                    <a:pt x="921" y="28"/>
                  </a:lnTo>
                  <a:lnTo>
                    <a:pt x="934" y="19"/>
                  </a:lnTo>
                  <a:lnTo>
                    <a:pt x="947" y="11"/>
                  </a:lnTo>
                  <a:lnTo>
                    <a:pt x="960" y="6"/>
                  </a:lnTo>
                  <a:lnTo>
                    <a:pt x="976" y="3"/>
                  </a:lnTo>
                  <a:lnTo>
                    <a:pt x="997" y="5"/>
                  </a:lnTo>
                  <a:lnTo>
                    <a:pt x="1026" y="15"/>
                  </a:lnTo>
                  <a:lnTo>
                    <a:pt x="1055" y="22"/>
                  </a:lnTo>
                  <a:lnTo>
                    <a:pt x="1082" y="28"/>
                  </a:lnTo>
                  <a:lnTo>
                    <a:pt x="1110" y="34"/>
                  </a:lnTo>
                  <a:lnTo>
                    <a:pt x="1136" y="38"/>
                  </a:lnTo>
                  <a:lnTo>
                    <a:pt x="1163" y="48"/>
                  </a:lnTo>
                  <a:lnTo>
                    <a:pt x="1191" y="60"/>
                  </a:lnTo>
                  <a:lnTo>
                    <a:pt x="1220" y="79"/>
                  </a:lnTo>
                  <a:lnTo>
                    <a:pt x="1224" y="87"/>
                  </a:lnTo>
                  <a:lnTo>
                    <a:pt x="1233" y="97"/>
                  </a:lnTo>
                  <a:lnTo>
                    <a:pt x="1240" y="106"/>
                  </a:lnTo>
                  <a:lnTo>
                    <a:pt x="1248" y="116"/>
                  </a:lnTo>
                  <a:lnTo>
                    <a:pt x="1256" y="125"/>
                  </a:lnTo>
                  <a:lnTo>
                    <a:pt x="1263" y="135"/>
                  </a:lnTo>
                  <a:lnTo>
                    <a:pt x="1269" y="144"/>
                  </a:lnTo>
                  <a:lnTo>
                    <a:pt x="1275" y="155"/>
                  </a:lnTo>
                  <a:lnTo>
                    <a:pt x="1251" y="171"/>
                  </a:lnTo>
                  <a:lnTo>
                    <a:pt x="1230" y="178"/>
                  </a:lnTo>
                  <a:lnTo>
                    <a:pt x="1205" y="178"/>
                  </a:lnTo>
                  <a:lnTo>
                    <a:pt x="1182" y="174"/>
                  </a:lnTo>
                  <a:lnTo>
                    <a:pt x="1156" y="165"/>
                  </a:lnTo>
                  <a:lnTo>
                    <a:pt x="1131" y="158"/>
                  </a:lnTo>
                  <a:lnTo>
                    <a:pt x="1107" y="151"/>
                  </a:lnTo>
                  <a:lnTo>
                    <a:pt x="1085" y="149"/>
                  </a:lnTo>
                  <a:lnTo>
                    <a:pt x="1052" y="136"/>
                  </a:lnTo>
                  <a:lnTo>
                    <a:pt x="1020" y="132"/>
                  </a:lnTo>
                  <a:lnTo>
                    <a:pt x="988" y="132"/>
                  </a:lnTo>
                  <a:lnTo>
                    <a:pt x="956" y="138"/>
                  </a:lnTo>
                  <a:lnTo>
                    <a:pt x="924" y="144"/>
                  </a:lnTo>
                  <a:lnTo>
                    <a:pt x="892" y="152"/>
                  </a:lnTo>
                  <a:lnTo>
                    <a:pt x="862" y="162"/>
                  </a:lnTo>
                  <a:lnTo>
                    <a:pt x="835" y="173"/>
                  </a:lnTo>
                  <a:lnTo>
                    <a:pt x="761" y="160"/>
                  </a:lnTo>
                  <a:lnTo>
                    <a:pt x="688" y="149"/>
                  </a:lnTo>
                  <a:lnTo>
                    <a:pt x="613" y="142"/>
                  </a:lnTo>
                  <a:lnTo>
                    <a:pt x="539" y="139"/>
                  </a:lnTo>
                  <a:lnTo>
                    <a:pt x="464" y="141"/>
                  </a:lnTo>
                  <a:lnTo>
                    <a:pt x="392" y="151"/>
                  </a:lnTo>
                  <a:lnTo>
                    <a:pt x="321" y="168"/>
                  </a:lnTo>
                  <a:lnTo>
                    <a:pt x="256" y="194"/>
                  </a:lnTo>
                  <a:lnTo>
                    <a:pt x="235" y="204"/>
                  </a:lnTo>
                  <a:lnTo>
                    <a:pt x="215" y="210"/>
                  </a:lnTo>
                  <a:lnTo>
                    <a:pt x="194" y="212"/>
                  </a:lnTo>
                  <a:lnTo>
                    <a:pt x="173" y="210"/>
                  </a:lnTo>
                  <a:lnTo>
                    <a:pt x="152" y="206"/>
                  </a:lnTo>
                  <a:lnTo>
                    <a:pt x="130" y="203"/>
                  </a:lnTo>
                  <a:lnTo>
                    <a:pt x="108" y="200"/>
                  </a:lnTo>
                  <a:lnTo>
                    <a:pt x="88" y="201"/>
                  </a:lnTo>
                  <a:lnTo>
                    <a:pt x="76" y="196"/>
                  </a:lnTo>
                  <a:lnTo>
                    <a:pt x="66" y="193"/>
                  </a:lnTo>
                  <a:lnTo>
                    <a:pt x="55" y="190"/>
                  </a:lnTo>
                  <a:lnTo>
                    <a:pt x="43" y="190"/>
                  </a:lnTo>
                  <a:lnTo>
                    <a:pt x="31" y="188"/>
                  </a:lnTo>
                  <a:lnTo>
                    <a:pt x="20" y="187"/>
                  </a:lnTo>
                  <a:lnTo>
                    <a:pt x="8" y="184"/>
                  </a:lnTo>
                  <a:lnTo>
                    <a:pt x="0" y="183"/>
                  </a:lnTo>
                  <a:lnTo>
                    <a:pt x="59" y="136"/>
                  </a:lnTo>
                  <a:lnTo>
                    <a:pt x="123" y="105"/>
                  </a:lnTo>
                  <a:lnTo>
                    <a:pt x="189" y="81"/>
                  </a:lnTo>
                  <a:lnTo>
                    <a:pt x="259" y="67"/>
                  </a:lnTo>
                  <a:lnTo>
                    <a:pt x="328" y="54"/>
                  </a:lnTo>
                  <a:lnTo>
                    <a:pt x="400" y="42"/>
                  </a:lnTo>
                  <a:lnTo>
                    <a:pt x="474" y="28"/>
                  </a:lnTo>
                  <a:lnTo>
                    <a:pt x="548" y="11"/>
                  </a:lnTo>
                  <a:lnTo>
                    <a:pt x="574" y="2"/>
                  </a:lnTo>
                  <a:lnTo>
                    <a:pt x="600" y="0"/>
                  </a:lnTo>
                  <a:lnTo>
                    <a:pt x="626" y="3"/>
                  </a:lnTo>
                  <a:lnTo>
                    <a:pt x="652" y="9"/>
                  </a:lnTo>
                  <a:lnTo>
                    <a:pt x="677" y="16"/>
                  </a:lnTo>
                  <a:lnTo>
                    <a:pt x="703" y="25"/>
                  </a:lnTo>
                  <a:lnTo>
                    <a:pt x="728" y="32"/>
                  </a:lnTo>
                  <a:lnTo>
                    <a:pt x="754" y="41"/>
                  </a:lnTo>
                  <a:lnTo>
                    <a:pt x="759" y="44"/>
                  </a:lnTo>
                  <a:lnTo>
                    <a:pt x="768" y="48"/>
                  </a:lnTo>
                  <a:lnTo>
                    <a:pt x="777" y="50"/>
                  </a:lnTo>
                  <a:lnTo>
                    <a:pt x="787" y="53"/>
                  </a:lnTo>
                  <a:lnTo>
                    <a:pt x="796" y="54"/>
                  </a:lnTo>
                  <a:lnTo>
                    <a:pt x="804" y="55"/>
                  </a:lnTo>
                  <a:lnTo>
                    <a:pt x="813" y="57"/>
                  </a:lnTo>
                  <a:lnTo>
                    <a:pt x="823" y="60"/>
                  </a:lnTo>
                  <a:close/>
                </a:path>
              </a:pathLst>
            </a:custGeom>
            <a:solidFill>
              <a:srgbClr val="FFBABC"/>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75" name="Freeform 31"/>
            <p:cNvSpPr>
              <a:spLocks/>
            </p:cNvSpPr>
            <p:nvPr/>
          </p:nvSpPr>
          <p:spPr bwMode="auto">
            <a:xfrm>
              <a:off x="2630" y="1973"/>
              <a:ext cx="425" cy="63"/>
            </a:xfrm>
            <a:custGeom>
              <a:avLst/>
              <a:gdLst/>
              <a:ahLst/>
              <a:cxnLst>
                <a:cxn ang="0">
                  <a:pos x="826" y="62"/>
                </a:cxn>
                <a:cxn ang="0">
                  <a:pos x="842" y="62"/>
                </a:cxn>
                <a:cxn ang="0">
                  <a:pos x="859" y="59"/>
                </a:cxn>
                <a:cxn ang="0">
                  <a:pos x="875" y="53"/>
                </a:cxn>
                <a:cxn ang="0">
                  <a:pos x="897" y="43"/>
                </a:cxn>
                <a:cxn ang="0">
                  <a:pos x="923" y="26"/>
                </a:cxn>
                <a:cxn ang="0">
                  <a:pos x="947" y="8"/>
                </a:cxn>
                <a:cxn ang="0">
                  <a:pos x="976" y="3"/>
                </a:cxn>
                <a:cxn ang="0">
                  <a:pos x="1024" y="13"/>
                </a:cxn>
                <a:cxn ang="0">
                  <a:pos x="1081" y="20"/>
                </a:cxn>
                <a:cxn ang="0">
                  <a:pos x="1136" y="24"/>
                </a:cxn>
                <a:cxn ang="0">
                  <a:pos x="1191" y="40"/>
                </a:cxn>
                <a:cxn ang="0">
                  <a:pos x="1224" y="66"/>
                </a:cxn>
                <a:cxn ang="0">
                  <a:pos x="1240" y="85"/>
                </a:cxn>
                <a:cxn ang="0">
                  <a:pos x="1256" y="104"/>
                </a:cxn>
                <a:cxn ang="0">
                  <a:pos x="1269" y="123"/>
                </a:cxn>
                <a:cxn ang="0">
                  <a:pos x="1251" y="150"/>
                </a:cxn>
                <a:cxn ang="0">
                  <a:pos x="1205" y="157"/>
                </a:cxn>
                <a:cxn ang="0">
                  <a:pos x="1156" y="144"/>
                </a:cxn>
                <a:cxn ang="0">
                  <a:pos x="1107" y="130"/>
                </a:cxn>
                <a:cxn ang="0">
                  <a:pos x="1052" y="115"/>
                </a:cxn>
                <a:cxn ang="0">
                  <a:pos x="988" y="111"/>
                </a:cxn>
                <a:cxn ang="0">
                  <a:pos x="924" y="123"/>
                </a:cxn>
                <a:cxn ang="0">
                  <a:pos x="862" y="141"/>
                </a:cxn>
                <a:cxn ang="0">
                  <a:pos x="761" y="139"/>
                </a:cxn>
                <a:cxn ang="0">
                  <a:pos x="613" y="121"/>
                </a:cxn>
                <a:cxn ang="0">
                  <a:pos x="464" y="120"/>
                </a:cxn>
                <a:cxn ang="0">
                  <a:pos x="321" y="147"/>
                </a:cxn>
                <a:cxn ang="0">
                  <a:pos x="235" y="183"/>
                </a:cxn>
                <a:cxn ang="0">
                  <a:pos x="194" y="191"/>
                </a:cxn>
                <a:cxn ang="0">
                  <a:pos x="152" y="185"/>
                </a:cxn>
                <a:cxn ang="0">
                  <a:pos x="108" y="179"/>
                </a:cxn>
                <a:cxn ang="0">
                  <a:pos x="76" y="175"/>
                </a:cxn>
                <a:cxn ang="0">
                  <a:pos x="55" y="169"/>
                </a:cxn>
                <a:cxn ang="0">
                  <a:pos x="31" y="167"/>
                </a:cxn>
                <a:cxn ang="0">
                  <a:pos x="8" y="163"/>
                </a:cxn>
                <a:cxn ang="0">
                  <a:pos x="59" y="115"/>
                </a:cxn>
                <a:cxn ang="0">
                  <a:pos x="189" y="66"/>
                </a:cxn>
                <a:cxn ang="0">
                  <a:pos x="328" y="46"/>
                </a:cxn>
                <a:cxn ang="0">
                  <a:pos x="474" y="27"/>
                </a:cxn>
                <a:cxn ang="0">
                  <a:pos x="574" y="1"/>
                </a:cxn>
                <a:cxn ang="0">
                  <a:pos x="626" y="3"/>
                </a:cxn>
                <a:cxn ang="0">
                  <a:pos x="677" y="16"/>
                </a:cxn>
                <a:cxn ang="0">
                  <a:pos x="726" y="32"/>
                </a:cxn>
                <a:cxn ang="0">
                  <a:pos x="758" y="43"/>
                </a:cxn>
                <a:cxn ang="0">
                  <a:pos x="775" y="49"/>
                </a:cxn>
                <a:cxn ang="0">
                  <a:pos x="794" y="53"/>
                </a:cxn>
                <a:cxn ang="0">
                  <a:pos x="813" y="56"/>
                </a:cxn>
              </a:cxnLst>
              <a:rect l="0" t="0" r="r" b="b"/>
              <a:pathLst>
                <a:path w="1275" h="191">
                  <a:moveTo>
                    <a:pt x="823" y="59"/>
                  </a:moveTo>
                  <a:lnTo>
                    <a:pt x="826" y="62"/>
                  </a:lnTo>
                  <a:lnTo>
                    <a:pt x="833" y="63"/>
                  </a:lnTo>
                  <a:lnTo>
                    <a:pt x="842" y="62"/>
                  </a:lnTo>
                  <a:lnTo>
                    <a:pt x="851" y="62"/>
                  </a:lnTo>
                  <a:lnTo>
                    <a:pt x="859" y="59"/>
                  </a:lnTo>
                  <a:lnTo>
                    <a:pt x="868" y="56"/>
                  </a:lnTo>
                  <a:lnTo>
                    <a:pt x="875" y="53"/>
                  </a:lnTo>
                  <a:lnTo>
                    <a:pt x="882" y="53"/>
                  </a:lnTo>
                  <a:lnTo>
                    <a:pt x="897" y="43"/>
                  </a:lnTo>
                  <a:lnTo>
                    <a:pt x="911" y="34"/>
                  </a:lnTo>
                  <a:lnTo>
                    <a:pt x="923" y="26"/>
                  </a:lnTo>
                  <a:lnTo>
                    <a:pt x="936" y="17"/>
                  </a:lnTo>
                  <a:lnTo>
                    <a:pt x="947" y="8"/>
                  </a:lnTo>
                  <a:lnTo>
                    <a:pt x="960" y="5"/>
                  </a:lnTo>
                  <a:lnTo>
                    <a:pt x="976" y="3"/>
                  </a:lnTo>
                  <a:lnTo>
                    <a:pt x="995" y="4"/>
                  </a:lnTo>
                  <a:lnTo>
                    <a:pt x="1024" y="13"/>
                  </a:lnTo>
                  <a:lnTo>
                    <a:pt x="1053" y="18"/>
                  </a:lnTo>
                  <a:lnTo>
                    <a:pt x="1081" y="20"/>
                  </a:lnTo>
                  <a:lnTo>
                    <a:pt x="1110" y="23"/>
                  </a:lnTo>
                  <a:lnTo>
                    <a:pt x="1136" y="24"/>
                  </a:lnTo>
                  <a:lnTo>
                    <a:pt x="1163" y="30"/>
                  </a:lnTo>
                  <a:lnTo>
                    <a:pt x="1191" y="40"/>
                  </a:lnTo>
                  <a:lnTo>
                    <a:pt x="1220" y="58"/>
                  </a:lnTo>
                  <a:lnTo>
                    <a:pt x="1224" y="66"/>
                  </a:lnTo>
                  <a:lnTo>
                    <a:pt x="1233" y="76"/>
                  </a:lnTo>
                  <a:lnTo>
                    <a:pt x="1240" y="85"/>
                  </a:lnTo>
                  <a:lnTo>
                    <a:pt x="1248" y="95"/>
                  </a:lnTo>
                  <a:lnTo>
                    <a:pt x="1256" y="104"/>
                  </a:lnTo>
                  <a:lnTo>
                    <a:pt x="1263" y="114"/>
                  </a:lnTo>
                  <a:lnTo>
                    <a:pt x="1269" y="123"/>
                  </a:lnTo>
                  <a:lnTo>
                    <a:pt x="1275" y="134"/>
                  </a:lnTo>
                  <a:lnTo>
                    <a:pt x="1251" y="150"/>
                  </a:lnTo>
                  <a:lnTo>
                    <a:pt x="1230" y="157"/>
                  </a:lnTo>
                  <a:lnTo>
                    <a:pt x="1205" y="157"/>
                  </a:lnTo>
                  <a:lnTo>
                    <a:pt x="1182" y="153"/>
                  </a:lnTo>
                  <a:lnTo>
                    <a:pt x="1156" y="144"/>
                  </a:lnTo>
                  <a:lnTo>
                    <a:pt x="1131" y="137"/>
                  </a:lnTo>
                  <a:lnTo>
                    <a:pt x="1107" y="130"/>
                  </a:lnTo>
                  <a:lnTo>
                    <a:pt x="1085" y="128"/>
                  </a:lnTo>
                  <a:lnTo>
                    <a:pt x="1052" y="115"/>
                  </a:lnTo>
                  <a:lnTo>
                    <a:pt x="1020" y="111"/>
                  </a:lnTo>
                  <a:lnTo>
                    <a:pt x="988" y="111"/>
                  </a:lnTo>
                  <a:lnTo>
                    <a:pt x="956" y="117"/>
                  </a:lnTo>
                  <a:lnTo>
                    <a:pt x="924" y="123"/>
                  </a:lnTo>
                  <a:lnTo>
                    <a:pt x="892" y="131"/>
                  </a:lnTo>
                  <a:lnTo>
                    <a:pt x="862" y="141"/>
                  </a:lnTo>
                  <a:lnTo>
                    <a:pt x="835" y="152"/>
                  </a:lnTo>
                  <a:lnTo>
                    <a:pt x="761" y="139"/>
                  </a:lnTo>
                  <a:lnTo>
                    <a:pt x="688" y="128"/>
                  </a:lnTo>
                  <a:lnTo>
                    <a:pt x="613" y="121"/>
                  </a:lnTo>
                  <a:lnTo>
                    <a:pt x="539" y="118"/>
                  </a:lnTo>
                  <a:lnTo>
                    <a:pt x="464" y="120"/>
                  </a:lnTo>
                  <a:lnTo>
                    <a:pt x="392" y="130"/>
                  </a:lnTo>
                  <a:lnTo>
                    <a:pt x="321" y="147"/>
                  </a:lnTo>
                  <a:lnTo>
                    <a:pt x="256" y="173"/>
                  </a:lnTo>
                  <a:lnTo>
                    <a:pt x="235" y="183"/>
                  </a:lnTo>
                  <a:lnTo>
                    <a:pt x="215" y="189"/>
                  </a:lnTo>
                  <a:lnTo>
                    <a:pt x="194" y="191"/>
                  </a:lnTo>
                  <a:lnTo>
                    <a:pt x="173" y="189"/>
                  </a:lnTo>
                  <a:lnTo>
                    <a:pt x="152" y="185"/>
                  </a:lnTo>
                  <a:lnTo>
                    <a:pt x="130" y="182"/>
                  </a:lnTo>
                  <a:lnTo>
                    <a:pt x="108" y="179"/>
                  </a:lnTo>
                  <a:lnTo>
                    <a:pt x="88" y="180"/>
                  </a:lnTo>
                  <a:lnTo>
                    <a:pt x="76" y="175"/>
                  </a:lnTo>
                  <a:lnTo>
                    <a:pt x="66" y="172"/>
                  </a:lnTo>
                  <a:lnTo>
                    <a:pt x="55" y="169"/>
                  </a:lnTo>
                  <a:lnTo>
                    <a:pt x="43" y="169"/>
                  </a:lnTo>
                  <a:lnTo>
                    <a:pt x="31" y="167"/>
                  </a:lnTo>
                  <a:lnTo>
                    <a:pt x="20" y="166"/>
                  </a:lnTo>
                  <a:lnTo>
                    <a:pt x="8" y="163"/>
                  </a:lnTo>
                  <a:lnTo>
                    <a:pt x="0" y="162"/>
                  </a:lnTo>
                  <a:lnTo>
                    <a:pt x="59" y="115"/>
                  </a:lnTo>
                  <a:lnTo>
                    <a:pt x="123" y="86"/>
                  </a:lnTo>
                  <a:lnTo>
                    <a:pt x="189" y="66"/>
                  </a:lnTo>
                  <a:lnTo>
                    <a:pt x="259" y="56"/>
                  </a:lnTo>
                  <a:lnTo>
                    <a:pt x="328" y="46"/>
                  </a:lnTo>
                  <a:lnTo>
                    <a:pt x="400" y="39"/>
                  </a:lnTo>
                  <a:lnTo>
                    <a:pt x="474" y="27"/>
                  </a:lnTo>
                  <a:lnTo>
                    <a:pt x="548" y="10"/>
                  </a:lnTo>
                  <a:lnTo>
                    <a:pt x="574" y="1"/>
                  </a:lnTo>
                  <a:lnTo>
                    <a:pt x="600" y="0"/>
                  </a:lnTo>
                  <a:lnTo>
                    <a:pt x="626" y="3"/>
                  </a:lnTo>
                  <a:lnTo>
                    <a:pt x="652" y="8"/>
                  </a:lnTo>
                  <a:lnTo>
                    <a:pt x="677" y="16"/>
                  </a:lnTo>
                  <a:lnTo>
                    <a:pt x="701" y="24"/>
                  </a:lnTo>
                  <a:lnTo>
                    <a:pt x="726" y="32"/>
                  </a:lnTo>
                  <a:lnTo>
                    <a:pt x="752" y="40"/>
                  </a:lnTo>
                  <a:lnTo>
                    <a:pt x="758" y="43"/>
                  </a:lnTo>
                  <a:lnTo>
                    <a:pt x="767" y="47"/>
                  </a:lnTo>
                  <a:lnTo>
                    <a:pt x="775" y="49"/>
                  </a:lnTo>
                  <a:lnTo>
                    <a:pt x="785" y="52"/>
                  </a:lnTo>
                  <a:lnTo>
                    <a:pt x="794" y="53"/>
                  </a:lnTo>
                  <a:lnTo>
                    <a:pt x="804" y="55"/>
                  </a:lnTo>
                  <a:lnTo>
                    <a:pt x="813" y="56"/>
                  </a:lnTo>
                  <a:lnTo>
                    <a:pt x="823" y="59"/>
                  </a:lnTo>
                  <a:close/>
                </a:path>
              </a:pathLst>
            </a:custGeom>
            <a:solidFill>
              <a:srgbClr val="FFBCBE"/>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76" name="Freeform 32"/>
            <p:cNvSpPr>
              <a:spLocks/>
            </p:cNvSpPr>
            <p:nvPr/>
          </p:nvSpPr>
          <p:spPr bwMode="auto">
            <a:xfrm>
              <a:off x="2630" y="2021"/>
              <a:ext cx="420" cy="115"/>
            </a:xfrm>
            <a:custGeom>
              <a:avLst/>
              <a:gdLst/>
              <a:ahLst/>
              <a:cxnLst>
                <a:cxn ang="0">
                  <a:pos x="1261" y="82"/>
                </a:cxn>
                <a:cxn ang="0">
                  <a:pos x="1258" y="146"/>
                </a:cxn>
                <a:cxn ang="0">
                  <a:pos x="1230" y="204"/>
                </a:cxn>
                <a:cxn ang="0">
                  <a:pos x="1188" y="251"/>
                </a:cxn>
                <a:cxn ang="0">
                  <a:pos x="1143" y="295"/>
                </a:cxn>
                <a:cxn ang="0">
                  <a:pos x="1054" y="298"/>
                </a:cxn>
                <a:cxn ang="0">
                  <a:pos x="967" y="293"/>
                </a:cxn>
                <a:cxn ang="0">
                  <a:pos x="879" y="290"/>
                </a:cxn>
                <a:cxn ang="0">
                  <a:pos x="789" y="301"/>
                </a:cxn>
                <a:cxn ang="0">
                  <a:pos x="685" y="314"/>
                </a:cxn>
                <a:cxn ang="0">
                  <a:pos x="582" y="335"/>
                </a:cxn>
                <a:cxn ang="0">
                  <a:pos x="481" y="343"/>
                </a:cxn>
                <a:cxn ang="0">
                  <a:pos x="387" y="315"/>
                </a:cxn>
                <a:cxn ang="0">
                  <a:pos x="310" y="293"/>
                </a:cxn>
                <a:cxn ang="0">
                  <a:pos x="237" y="264"/>
                </a:cxn>
                <a:cxn ang="0">
                  <a:pos x="167" y="227"/>
                </a:cxn>
                <a:cxn ang="0">
                  <a:pos x="101" y="188"/>
                </a:cxn>
                <a:cxn ang="0">
                  <a:pos x="73" y="165"/>
                </a:cxn>
                <a:cxn ang="0">
                  <a:pos x="46" y="140"/>
                </a:cxn>
                <a:cxn ang="0">
                  <a:pos x="20" y="113"/>
                </a:cxn>
                <a:cxn ang="0">
                  <a:pos x="0" y="85"/>
                </a:cxn>
                <a:cxn ang="0">
                  <a:pos x="44" y="66"/>
                </a:cxn>
                <a:cxn ang="0">
                  <a:pos x="104" y="68"/>
                </a:cxn>
                <a:cxn ang="0">
                  <a:pos x="167" y="72"/>
                </a:cxn>
                <a:cxn ang="0">
                  <a:pos x="227" y="72"/>
                </a:cxn>
                <a:cxn ang="0">
                  <a:pos x="310" y="56"/>
                </a:cxn>
                <a:cxn ang="0">
                  <a:pos x="415" y="36"/>
                </a:cxn>
                <a:cxn ang="0">
                  <a:pos x="524" y="19"/>
                </a:cxn>
                <a:cxn ang="0">
                  <a:pos x="635" y="10"/>
                </a:cxn>
                <a:cxn ang="0">
                  <a:pos x="706" y="16"/>
                </a:cxn>
                <a:cxn ang="0">
                  <a:pos x="732" y="21"/>
                </a:cxn>
                <a:cxn ang="0">
                  <a:pos x="760" y="29"/>
                </a:cxn>
                <a:cxn ang="0">
                  <a:pos x="787" y="37"/>
                </a:cxn>
                <a:cxn ang="0">
                  <a:pos x="842" y="27"/>
                </a:cxn>
                <a:cxn ang="0">
                  <a:pos x="938" y="6"/>
                </a:cxn>
                <a:cxn ang="0">
                  <a:pos x="1035" y="0"/>
                </a:cxn>
                <a:cxn ang="0">
                  <a:pos x="1130" y="20"/>
                </a:cxn>
                <a:cxn ang="0">
                  <a:pos x="1230" y="52"/>
                </a:cxn>
              </a:cxnLst>
              <a:rect l="0" t="0" r="r" b="b"/>
              <a:pathLst>
                <a:path w="1262" h="343">
                  <a:moveTo>
                    <a:pt x="1230" y="52"/>
                  </a:moveTo>
                  <a:lnTo>
                    <a:pt x="1261" y="82"/>
                  </a:lnTo>
                  <a:lnTo>
                    <a:pt x="1262" y="114"/>
                  </a:lnTo>
                  <a:lnTo>
                    <a:pt x="1258" y="146"/>
                  </a:lnTo>
                  <a:lnTo>
                    <a:pt x="1246" y="175"/>
                  </a:lnTo>
                  <a:lnTo>
                    <a:pt x="1230" y="204"/>
                  </a:lnTo>
                  <a:lnTo>
                    <a:pt x="1210" y="228"/>
                  </a:lnTo>
                  <a:lnTo>
                    <a:pt x="1188" y="251"/>
                  </a:lnTo>
                  <a:lnTo>
                    <a:pt x="1165" y="273"/>
                  </a:lnTo>
                  <a:lnTo>
                    <a:pt x="1143" y="295"/>
                  </a:lnTo>
                  <a:lnTo>
                    <a:pt x="1097" y="298"/>
                  </a:lnTo>
                  <a:lnTo>
                    <a:pt x="1054" y="298"/>
                  </a:lnTo>
                  <a:lnTo>
                    <a:pt x="1010" y="295"/>
                  </a:lnTo>
                  <a:lnTo>
                    <a:pt x="967" y="293"/>
                  </a:lnTo>
                  <a:lnTo>
                    <a:pt x="922" y="290"/>
                  </a:lnTo>
                  <a:lnTo>
                    <a:pt x="879" y="290"/>
                  </a:lnTo>
                  <a:lnTo>
                    <a:pt x="834" y="292"/>
                  </a:lnTo>
                  <a:lnTo>
                    <a:pt x="789" y="301"/>
                  </a:lnTo>
                  <a:lnTo>
                    <a:pt x="737" y="303"/>
                  </a:lnTo>
                  <a:lnTo>
                    <a:pt x="685" y="314"/>
                  </a:lnTo>
                  <a:lnTo>
                    <a:pt x="633" y="324"/>
                  </a:lnTo>
                  <a:lnTo>
                    <a:pt x="582" y="335"/>
                  </a:lnTo>
                  <a:lnTo>
                    <a:pt x="530" y="341"/>
                  </a:lnTo>
                  <a:lnTo>
                    <a:pt x="481" y="343"/>
                  </a:lnTo>
                  <a:lnTo>
                    <a:pt x="433" y="334"/>
                  </a:lnTo>
                  <a:lnTo>
                    <a:pt x="387" y="315"/>
                  </a:lnTo>
                  <a:lnTo>
                    <a:pt x="347" y="305"/>
                  </a:lnTo>
                  <a:lnTo>
                    <a:pt x="310" y="293"/>
                  </a:lnTo>
                  <a:lnTo>
                    <a:pt x="272" y="279"/>
                  </a:lnTo>
                  <a:lnTo>
                    <a:pt x="237" y="264"/>
                  </a:lnTo>
                  <a:lnTo>
                    <a:pt x="201" y="246"/>
                  </a:lnTo>
                  <a:lnTo>
                    <a:pt x="167" y="227"/>
                  </a:lnTo>
                  <a:lnTo>
                    <a:pt x="133" y="207"/>
                  </a:lnTo>
                  <a:lnTo>
                    <a:pt x="101" y="188"/>
                  </a:lnTo>
                  <a:lnTo>
                    <a:pt x="87" y="176"/>
                  </a:lnTo>
                  <a:lnTo>
                    <a:pt x="73" y="165"/>
                  </a:lnTo>
                  <a:lnTo>
                    <a:pt x="59" y="152"/>
                  </a:lnTo>
                  <a:lnTo>
                    <a:pt x="46" y="140"/>
                  </a:lnTo>
                  <a:lnTo>
                    <a:pt x="33" y="126"/>
                  </a:lnTo>
                  <a:lnTo>
                    <a:pt x="20" y="113"/>
                  </a:lnTo>
                  <a:lnTo>
                    <a:pt x="9" y="98"/>
                  </a:lnTo>
                  <a:lnTo>
                    <a:pt x="0" y="85"/>
                  </a:lnTo>
                  <a:lnTo>
                    <a:pt x="15" y="71"/>
                  </a:lnTo>
                  <a:lnTo>
                    <a:pt x="44" y="66"/>
                  </a:lnTo>
                  <a:lnTo>
                    <a:pt x="74" y="66"/>
                  </a:lnTo>
                  <a:lnTo>
                    <a:pt x="104" y="68"/>
                  </a:lnTo>
                  <a:lnTo>
                    <a:pt x="136" y="71"/>
                  </a:lnTo>
                  <a:lnTo>
                    <a:pt x="167" y="72"/>
                  </a:lnTo>
                  <a:lnTo>
                    <a:pt x="197" y="74"/>
                  </a:lnTo>
                  <a:lnTo>
                    <a:pt x="227" y="72"/>
                  </a:lnTo>
                  <a:lnTo>
                    <a:pt x="258" y="68"/>
                  </a:lnTo>
                  <a:lnTo>
                    <a:pt x="310" y="56"/>
                  </a:lnTo>
                  <a:lnTo>
                    <a:pt x="363" y="46"/>
                  </a:lnTo>
                  <a:lnTo>
                    <a:pt x="415" y="36"/>
                  </a:lnTo>
                  <a:lnTo>
                    <a:pt x="470" y="27"/>
                  </a:lnTo>
                  <a:lnTo>
                    <a:pt x="524" y="19"/>
                  </a:lnTo>
                  <a:lnTo>
                    <a:pt x="579" y="13"/>
                  </a:lnTo>
                  <a:lnTo>
                    <a:pt x="635" y="10"/>
                  </a:lnTo>
                  <a:lnTo>
                    <a:pt x="693" y="13"/>
                  </a:lnTo>
                  <a:lnTo>
                    <a:pt x="706" y="16"/>
                  </a:lnTo>
                  <a:lnTo>
                    <a:pt x="719" y="19"/>
                  </a:lnTo>
                  <a:lnTo>
                    <a:pt x="732" y="21"/>
                  </a:lnTo>
                  <a:lnTo>
                    <a:pt x="747" y="26"/>
                  </a:lnTo>
                  <a:lnTo>
                    <a:pt x="760" y="29"/>
                  </a:lnTo>
                  <a:lnTo>
                    <a:pt x="774" y="33"/>
                  </a:lnTo>
                  <a:lnTo>
                    <a:pt x="787" y="37"/>
                  </a:lnTo>
                  <a:lnTo>
                    <a:pt x="800" y="46"/>
                  </a:lnTo>
                  <a:lnTo>
                    <a:pt x="842" y="27"/>
                  </a:lnTo>
                  <a:lnTo>
                    <a:pt x="890" y="14"/>
                  </a:lnTo>
                  <a:lnTo>
                    <a:pt x="938" y="6"/>
                  </a:lnTo>
                  <a:lnTo>
                    <a:pt x="987" y="1"/>
                  </a:lnTo>
                  <a:lnTo>
                    <a:pt x="1035" y="0"/>
                  </a:lnTo>
                  <a:lnTo>
                    <a:pt x="1084" y="7"/>
                  </a:lnTo>
                  <a:lnTo>
                    <a:pt x="1130" y="20"/>
                  </a:lnTo>
                  <a:lnTo>
                    <a:pt x="1175" y="43"/>
                  </a:lnTo>
                  <a:lnTo>
                    <a:pt x="1230" y="52"/>
                  </a:lnTo>
                  <a:close/>
                </a:path>
              </a:pathLst>
            </a:custGeom>
            <a:solidFill>
              <a:srgbClr val="FFADB0"/>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77" name="Freeform 33"/>
            <p:cNvSpPr>
              <a:spLocks/>
            </p:cNvSpPr>
            <p:nvPr/>
          </p:nvSpPr>
          <p:spPr bwMode="auto">
            <a:xfrm>
              <a:off x="2630" y="2021"/>
              <a:ext cx="417" cy="111"/>
            </a:xfrm>
            <a:custGeom>
              <a:avLst/>
              <a:gdLst/>
              <a:ahLst/>
              <a:cxnLst>
                <a:cxn ang="0">
                  <a:pos x="1252" y="82"/>
                </a:cxn>
                <a:cxn ang="0">
                  <a:pos x="1250" y="143"/>
                </a:cxn>
                <a:cxn ang="0">
                  <a:pos x="1226" y="196"/>
                </a:cxn>
                <a:cxn ang="0">
                  <a:pos x="1187" y="240"/>
                </a:cxn>
                <a:cxn ang="0">
                  <a:pos x="1142" y="280"/>
                </a:cxn>
                <a:cxn ang="0">
                  <a:pos x="1054" y="282"/>
                </a:cxn>
                <a:cxn ang="0">
                  <a:pos x="970" y="276"/>
                </a:cxn>
                <a:cxn ang="0">
                  <a:pos x="884" y="270"/>
                </a:cxn>
                <a:cxn ang="0">
                  <a:pos x="796" y="277"/>
                </a:cxn>
                <a:cxn ang="0">
                  <a:pos x="692" y="293"/>
                </a:cxn>
                <a:cxn ang="0">
                  <a:pos x="588" y="319"/>
                </a:cxn>
                <a:cxn ang="0">
                  <a:pos x="483" y="331"/>
                </a:cxn>
                <a:cxn ang="0">
                  <a:pos x="388" y="306"/>
                </a:cxn>
                <a:cxn ang="0">
                  <a:pos x="313" y="286"/>
                </a:cxn>
                <a:cxn ang="0">
                  <a:pos x="242" y="257"/>
                </a:cxn>
                <a:cxn ang="0">
                  <a:pos x="175" y="221"/>
                </a:cxn>
                <a:cxn ang="0">
                  <a:pos x="109" y="182"/>
                </a:cxn>
                <a:cxn ang="0">
                  <a:pos x="80" y="159"/>
                </a:cxn>
                <a:cxn ang="0">
                  <a:pos x="51" y="137"/>
                </a:cxn>
                <a:cxn ang="0">
                  <a:pos x="23" y="113"/>
                </a:cxn>
                <a:cxn ang="0">
                  <a:pos x="0" y="85"/>
                </a:cxn>
                <a:cxn ang="0">
                  <a:pos x="44" y="66"/>
                </a:cxn>
                <a:cxn ang="0">
                  <a:pos x="104" y="68"/>
                </a:cxn>
                <a:cxn ang="0">
                  <a:pos x="167" y="72"/>
                </a:cxn>
                <a:cxn ang="0">
                  <a:pos x="227" y="72"/>
                </a:cxn>
                <a:cxn ang="0">
                  <a:pos x="310" y="56"/>
                </a:cxn>
                <a:cxn ang="0">
                  <a:pos x="415" y="36"/>
                </a:cxn>
                <a:cxn ang="0">
                  <a:pos x="524" y="19"/>
                </a:cxn>
                <a:cxn ang="0">
                  <a:pos x="635" y="10"/>
                </a:cxn>
                <a:cxn ang="0">
                  <a:pos x="706" y="16"/>
                </a:cxn>
                <a:cxn ang="0">
                  <a:pos x="732" y="21"/>
                </a:cxn>
                <a:cxn ang="0">
                  <a:pos x="760" y="29"/>
                </a:cxn>
                <a:cxn ang="0">
                  <a:pos x="787" y="37"/>
                </a:cxn>
                <a:cxn ang="0">
                  <a:pos x="842" y="27"/>
                </a:cxn>
                <a:cxn ang="0">
                  <a:pos x="938" y="6"/>
                </a:cxn>
                <a:cxn ang="0">
                  <a:pos x="1035" y="0"/>
                </a:cxn>
                <a:cxn ang="0">
                  <a:pos x="1130" y="20"/>
                </a:cxn>
                <a:cxn ang="0">
                  <a:pos x="1230" y="52"/>
                </a:cxn>
              </a:cxnLst>
              <a:rect l="0" t="0" r="r" b="b"/>
              <a:pathLst>
                <a:path w="1253" h="331">
                  <a:moveTo>
                    <a:pt x="1230" y="52"/>
                  </a:moveTo>
                  <a:lnTo>
                    <a:pt x="1252" y="82"/>
                  </a:lnTo>
                  <a:lnTo>
                    <a:pt x="1253" y="113"/>
                  </a:lnTo>
                  <a:lnTo>
                    <a:pt x="1250" y="143"/>
                  </a:lnTo>
                  <a:lnTo>
                    <a:pt x="1240" y="170"/>
                  </a:lnTo>
                  <a:lnTo>
                    <a:pt x="1226" y="196"/>
                  </a:lnTo>
                  <a:lnTo>
                    <a:pt x="1207" y="218"/>
                  </a:lnTo>
                  <a:lnTo>
                    <a:pt x="1187" y="240"/>
                  </a:lnTo>
                  <a:lnTo>
                    <a:pt x="1164" y="260"/>
                  </a:lnTo>
                  <a:lnTo>
                    <a:pt x="1142" y="280"/>
                  </a:lnTo>
                  <a:lnTo>
                    <a:pt x="1097" y="282"/>
                  </a:lnTo>
                  <a:lnTo>
                    <a:pt x="1054" y="282"/>
                  </a:lnTo>
                  <a:lnTo>
                    <a:pt x="1010" y="279"/>
                  </a:lnTo>
                  <a:lnTo>
                    <a:pt x="970" y="276"/>
                  </a:lnTo>
                  <a:lnTo>
                    <a:pt x="926" y="272"/>
                  </a:lnTo>
                  <a:lnTo>
                    <a:pt x="884" y="270"/>
                  </a:lnTo>
                  <a:lnTo>
                    <a:pt x="841" y="270"/>
                  </a:lnTo>
                  <a:lnTo>
                    <a:pt x="796" y="277"/>
                  </a:lnTo>
                  <a:lnTo>
                    <a:pt x="744" y="282"/>
                  </a:lnTo>
                  <a:lnTo>
                    <a:pt x="692" y="293"/>
                  </a:lnTo>
                  <a:lnTo>
                    <a:pt x="640" y="306"/>
                  </a:lnTo>
                  <a:lnTo>
                    <a:pt x="588" y="319"/>
                  </a:lnTo>
                  <a:lnTo>
                    <a:pt x="534" y="328"/>
                  </a:lnTo>
                  <a:lnTo>
                    <a:pt x="483" y="331"/>
                  </a:lnTo>
                  <a:lnTo>
                    <a:pt x="434" y="325"/>
                  </a:lnTo>
                  <a:lnTo>
                    <a:pt x="388" y="306"/>
                  </a:lnTo>
                  <a:lnTo>
                    <a:pt x="349" y="296"/>
                  </a:lnTo>
                  <a:lnTo>
                    <a:pt x="313" y="286"/>
                  </a:lnTo>
                  <a:lnTo>
                    <a:pt x="277" y="272"/>
                  </a:lnTo>
                  <a:lnTo>
                    <a:pt x="242" y="257"/>
                  </a:lnTo>
                  <a:lnTo>
                    <a:pt x="207" y="238"/>
                  </a:lnTo>
                  <a:lnTo>
                    <a:pt x="175" y="221"/>
                  </a:lnTo>
                  <a:lnTo>
                    <a:pt x="141" y="201"/>
                  </a:lnTo>
                  <a:lnTo>
                    <a:pt x="109" y="182"/>
                  </a:lnTo>
                  <a:lnTo>
                    <a:pt x="93" y="170"/>
                  </a:lnTo>
                  <a:lnTo>
                    <a:pt x="80" y="159"/>
                  </a:lnTo>
                  <a:lnTo>
                    <a:pt x="64" y="147"/>
                  </a:lnTo>
                  <a:lnTo>
                    <a:pt x="51" y="137"/>
                  </a:lnTo>
                  <a:lnTo>
                    <a:pt x="36" y="124"/>
                  </a:lnTo>
                  <a:lnTo>
                    <a:pt x="23" y="113"/>
                  </a:lnTo>
                  <a:lnTo>
                    <a:pt x="10" y="98"/>
                  </a:lnTo>
                  <a:lnTo>
                    <a:pt x="0" y="85"/>
                  </a:lnTo>
                  <a:lnTo>
                    <a:pt x="15" y="71"/>
                  </a:lnTo>
                  <a:lnTo>
                    <a:pt x="44" y="66"/>
                  </a:lnTo>
                  <a:lnTo>
                    <a:pt x="74" y="66"/>
                  </a:lnTo>
                  <a:lnTo>
                    <a:pt x="104" y="68"/>
                  </a:lnTo>
                  <a:lnTo>
                    <a:pt x="136" y="71"/>
                  </a:lnTo>
                  <a:lnTo>
                    <a:pt x="167" y="72"/>
                  </a:lnTo>
                  <a:lnTo>
                    <a:pt x="197" y="74"/>
                  </a:lnTo>
                  <a:lnTo>
                    <a:pt x="227" y="72"/>
                  </a:lnTo>
                  <a:lnTo>
                    <a:pt x="258" y="68"/>
                  </a:lnTo>
                  <a:lnTo>
                    <a:pt x="310" y="56"/>
                  </a:lnTo>
                  <a:lnTo>
                    <a:pt x="363" y="46"/>
                  </a:lnTo>
                  <a:lnTo>
                    <a:pt x="415" y="36"/>
                  </a:lnTo>
                  <a:lnTo>
                    <a:pt x="470" y="27"/>
                  </a:lnTo>
                  <a:lnTo>
                    <a:pt x="524" y="19"/>
                  </a:lnTo>
                  <a:lnTo>
                    <a:pt x="579" y="13"/>
                  </a:lnTo>
                  <a:lnTo>
                    <a:pt x="635" y="10"/>
                  </a:lnTo>
                  <a:lnTo>
                    <a:pt x="693" y="13"/>
                  </a:lnTo>
                  <a:lnTo>
                    <a:pt x="706" y="16"/>
                  </a:lnTo>
                  <a:lnTo>
                    <a:pt x="719" y="19"/>
                  </a:lnTo>
                  <a:lnTo>
                    <a:pt x="732" y="21"/>
                  </a:lnTo>
                  <a:lnTo>
                    <a:pt x="747" y="26"/>
                  </a:lnTo>
                  <a:lnTo>
                    <a:pt x="760" y="29"/>
                  </a:lnTo>
                  <a:lnTo>
                    <a:pt x="774" y="33"/>
                  </a:lnTo>
                  <a:lnTo>
                    <a:pt x="787" y="37"/>
                  </a:lnTo>
                  <a:lnTo>
                    <a:pt x="800" y="46"/>
                  </a:lnTo>
                  <a:lnTo>
                    <a:pt x="842" y="27"/>
                  </a:lnTo>
                  <a:lnTo>
                    <a:pt x="890" y="14"/>
                  </a:lnTo>
                  <a:lnTo>
                    <a:pt x="938" y="6"/>
                  </a:lnTo>
                  <a:lnTo>
                    <a:pt x="987" y="1"/>
                  </a:lnTo>
                  <a:lnTo>
                    <a:pt x="1035" y="0"/>
                  </a:lnTo>
                  <a:lnTo>
                    <a:pt x="1084" y="7"/>
                  </a:lnTo>
                  <a:lnTo>
                    <a:pt x="1130" y="20"/>
                  </a:lnTo>
                  <a:lnTo>
                    <a:pt x="1175" y="43"/>
                  </a:lnTo>
                  <a:lnTo>
                    <a:pt x="1230" y="52"/>
                  </a:lnTo>
                  <a:close/>
                </a:path>
              </a:pathLst>
            </a:custGeom>
            <a:solidFill>
              <a:srgbClr val="FFB0B2"/>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78" name="Freeform 34"/>
            <p:cNvSpPr>
              <a:spLocks/>
            </p:cNvSpPr>
            <p:nvPr/>
          </p:nvSpPr>
          <p:spPr bwMode="auto">
            <a:xfrm>
              <a:off x="2630" y="2021"/>
              <a:ext cx="415" cy="107"/>
            </a:xfrm>
            <a:custGeom>
              <a:avLst/>
              <a:gdLst/>
              <a:ahLst/>
              <a:cxnLst>
                <a:cxn ang="0">
                  <a:pos x="1243" y="82"/>
                </a:cxn>
                <a:cxn ang="0">
                  <a:pos x="1243" y="141"/>
                </a:cxn>
                <a:cxn ang="0">
                  <a:pos x="1222" y="189"/>
                </a:cxn>
                <a:cxn ang="0">
                  <a:pos x="1184" y="227"/>
                </a:cxn>
                <a:cxn ang="0">
                  <a:pos x="1140" y="266"/>
                </a:cxn>
                <a:cxn ang="0">
                  <a:pos x="1054" y="266"/>
                </a:cxn>
                <a:cxn ang="0">
                  <a:pos x="973" y="256"/>
                </a:cxn>
                <a:cxn ang="0">
                  <a:pos x="890" y="247"/>
                </a:cxn>
                <a:cxn ang="0">
                  <a:pos x="803" y="256"/>
                </a:cxn>
                <a:cxn ang="0">
                  <a:pos x="698" y="273"/>
                </a:cxn>
                <a:cxn ang="0">
                  <a:pos x="592" y="305"/>
                </a:cxn>
                <a:cxn ang="0">
                  <a:pos x="486" y="321"/>
                </a:cxn>
                <a:cxn ang="0">
                  <a:pos x="389" y="299"/>
                </a:cxn>
                <a:cxn ang="0">
                  <a:pos x="314" y="277"/>
                </a:cxn>
                <a:cxn ang="0">
                  <a:pos x="248" y="250"/>
                </a:cxn>
                <a:cxn ang="0">
                  <a:pos x="182" y="215"/>
                </a:cxn>
                <a:cxn ang="0">
                  <a:pos x="117" y="176"/>
                </a:cxn>
                <a:cxn ang="0">
                  <a:pos x="87" y="155"/>
                </a:cxn>
                <a:cxn ang="0">
                  <a:pos x="55" y="134"/>
                </a:cxn>
                <a:cxn ang="0">
                  <a:pos x="23" y="111"/>
                </a:cxn>
                <a:cxn ang="0">
                  <a:pos x="0" y="85"/>
                </a:cxn>
                <a:cxn ang="0">
                  <a:pos x="44" y="66"/>
                </a:cxn>
                <a:cxn ang="0">
                  <a:pos x="104" y="68"/>
                </a:cxn>
                <a:cxn ang="0">
                  <a:pos x="167" y="72"/>
                </a:cxn>
                <a:cxn ang="0">
                  <a:pos x="227" y="72"/>
                </a:cxn>
                <a:cxn ang="0">
                  <a:pos x="310" y="56"/>
                </a:cxn>
                <a:cxn ang="0">
                  <a:pos x="415" y="36"/>
                </a:cxn>
                <a:cxn ang="0">
                  <a:pos x="524" y="19"/>
                </a:cxn>
                <a:cxn ang="0">
                  <a:pos x="635" y="10"/>
                </a:cxn>
                <a:cxn ang="0">
                  <a:pos x="706" y="16"/>
                </a:cxn>
                <a:cxn ang="0">
                  <a:pos x="732" y="21"/>
                </a:cxn>
                <a:cxn ang="0">
                  <a:pos x="760" y="29"/>
                </a:cxn>
                <a:cxn ang="0">
                  <a:pos x="787" y="37"/>
                </a:cxn>
                <a:cxn ang="0">
                  <a:pos x="842" y="27"/>
                </a:cxn>
                <a:cxn ang="0">
                  <a:pos x="938" y="6"/>
                </a:cxn>
                <a:cxn ang="0">
                  <a:pos x="1035" y="0"/>
                </a:cxn>
                <a:cxn ang="0">
                  <a:pos x="1130" y="20"/>
                </a:cxn>
                <a:cxn ang="0">
                  <a:pos x="1230" y="52"/>
                </a:cxn>
              </a:cxnLst>
              <a:rect l="0" t="0" r="r" b="b"/>
              <a:pathLst>
                <a:path w="1245" h="321">
                  <a:moveTo>
                    <a:pt x="1230" y="52"/>
                  </a:moveTo>
                  <a:lnTo>
                    <a:pt x="1243" y="82"/>
                  </a:lnTo>
                  <a:lnTo>
                    <a:pt x="1245" y="113"/>
                  </a:lnTo>
                  <a:lnTo>
                    <a:pt x="1243" y="141"/>
                  </a:lnTo>
                  <a:lnTo>
                    <a:pt x="1235" y="166"/>
                  </a:lnTo>
                  <a:lnTo>
                    <a:pt x="1222" y="189"/>
                  </a:lnTo>
                  <a:lnTo>
                    <a:pt x="1204" y="208"/>
                  </a:lnTo>
                  <a:lnTo>
                    <a:pt x="1184" y="227"/>
                  </a:lnTo>
                  <a:lnTo>
                    <a:pt x="1162" y="246"/>
                  </a:lnTo>
                  <a:lnTo>
                    <a:pt x="1140" y="266"/>
                  </a:lnTo>
                  <a:lnTo>
                    <a:pt x="1096" y="267"/>
                  </a:lnTo>
                  <a:lnTo>
                    <a:pt x="1054" y="266"/>
                  </a:lnTo>
                  <a:lnTo>
                    <a:pt x="1012" y="262"/>
                  </a:lnTo>
                  <a:lnTo>
                    <a:pt x="973" y="256"/>
                  </a:lnTo>
                  <a:lnTo>
                    <a:pt x="931" y="250"/>
                  </a:lnTo>
                  <a:lnTo>
                    <a:pt x="890" y="247"/>
                  </a:lnTo>
                  <a:lnTo>
                    <a:pt x="847" y="249"/>
                  </a:lnTo>
                  <a:lnTo>
                    <a:pt x="803" y="256"/>
                  </a:lnTo>
                  <a:lnTo>
                    <a:pt x="750" y="262"/>
                  </a:lnTo>
                  <a:lnTo>
                    <a:pt x="698" y="273"/>
                  </a:lnTo>
                  <a:lnTo>
                    <a:pt x="644" y="289"/>
                  </a:lnTo>
                  <a:lnTo>
                    <a:pt x="592" y="305"/>
                  </a:lnTo>
                  <a:lnTo>
                    <a:pt x="537" y="315"/>
                  </a:lnTo>
                  <a:lnTo>
                    <a:pt x="486" y="321"/>
                  </a:lnTo>
                  <a:lnTo>
                    <a:pt x="436" y="317"/>
                  </a:lnTo>
                  <a:lnTo>
                    <a:pt x="389" y="299"/>
                  </a:lnTo>
                  <a:lnTo>
                    <a:pt x="350" y="289"/>
                  </a:lnTo>
                  <a:lnTo>
                    <a:pt x="314" y="277"/>
                  </a:lnTo>
                  <a:lnTo>
                    <a:pt x="279" y="264"/>
                  </a:lnTo>
                  <a:lnTo>
                    <a:pt x="248" y="250"/>
                  </a:lnTo>
                  <a:lnTo>
                    <a:pt x="214" y="233"/>
                  </a:lnTo>
                  <a:lnTo>
                    <a:pt x="182" y="215"/>
                  </a:lnTo>
                  <a:lnTo>
                    <a:pt x="149" y="195"/>
                  </a:lnTo>
                  <a:lnTo>
                    <a:pt x="117" y="176"/>
                  </a:lnTo>
                  <a:lnTo>
                    <a:pt x="101" y="165"/>
                  </a:lnTo>
                  <a:lnTo>
                    <a:pt x="87" y="155"/>
                  </a:lnTo>
                  <a:lnTo>
                    <a:pt x="71" y="144"/>
                  </a:lnTo>
                  <a:lnTo>
                    <a:pt x="55" y="134"/>
                  </a:lnTo>
                  <a:lnTo>
                    <a:pt x="38" y="123"/>
                  </a:lnTo>
                  <a:lnTo>
                    <a:pt x="23" y="111"/>
                  </a:lnTo>
                  <a:lnTo>
                    <a:pt x="10" y="98"/>
                  </a:lnTo>
                  <a:lnTo>
                    <a:pt x="0" y="85"/>
                  </a:lnTo>
                  <a:lnTo>
                    <a:pt x="15" y="71"/>
                  </a:lnTo>
                  <a:lnTo>
                    <a:pt x="44" y="66"/>
                  </a:lnTo>
                  <a:lnTo>
                    <a:pt x="74" y="66"/>
                  </a:lnTo>
                  <a:lnTo>
                    <a:pt x="104" y="68"/>
                  </a:lnTo>
                  <a:lnTo>
                    <a:pt x="136" y="71"/>
                  </a:lnTo>
                  <a:lnTo>
                    <a:pt x="167" y="72"/>
                  </a:lnTo>
                  <a:lnTo>
                    <a:pt x="197" y="74"/>
                  </a:lnTo>
                  <a:lnTo>
                    <a:pt x="227" y="72"/>
                  </a:lnTo>
                  <a:lnTo>
                    <a:pt x="258" y="68"/>
                  </a:lnTo>
                  <a:lnTo>
                    <a:pt x="310" y="56"/>
                  </a:lnTo>
                  <a:lnTo>
                    <a:pt x="363" y="46"/>
                  </a:lnTo>
                  <a:lnTo>
                    <a:pt x="415" y="36"/>
                  </a:lnTo>
                  <a:lnTo>
                    <a:pt x="470" y="27"/>
                  </a:lnTo>
                  <a:lnTo>
                    <a:pt x="524" y="19"/>
                  </a:lnTo>
                  <a:lnTo>
                    <a:pt x="579" y="13"/>
                  </a:lnTo>
                  <a:lnTo>
                    <a:pt x="635" y="10"/>
                  </a:lnTo>
                  <a:lnTo>
                    <a:pt x="693" y="13"/>
                  </a:lnTo>
                  <a:lnTo>
                    <a:pt x="706" y="16"/>
                  </a:lnTo>
                  <a:lnTo>
                    <a:pt x="719" y="19"/>
                  </a:lnTo>
                  <a:lnTo>
                    <a:pt x="732" y="21"/>
                  </a:lnTo>
                  <a:lnTo>
                    <a:pt x="747" y="26"/>
                  </a:lnTo>
                  <a:lnTo>
                    <a:pt x="760" y="29"/>
                  </a:lnTo>
                  <a:lnTo>
                    <a:pt x="774" y="33"/>
                  </a:lnTo>
                  <a:lnTo>
                    <a:pt x="787" y="37"/>
                  </a:lnTo>
                  <a:lnTo>
                    <a:pt x="800" y="46"/>
                  </a:lnTo>
                  <a:lnTo>
                    <a:pt x="842" y="27"/>
                  </a:lnTo>
                  <a:lnTo>
                    <a:pt x="890" y="14"/>
                  </a:lnTo>
                  <a:lnTo>
                    <a:pt x="938" y="6"/>
                  </a:lnTo>
                  <a:lnTo>
                    <a:pt x="987" y="1"/>
                  </a:lnTo>
                  <a:lnTo>
                    <a:pt x="1035" y="0"/>
                  </a:lnTo>
                  <a:lnTo>
                    <a:pt x="1084" y="7"/>
                  </a:lnTo>
                  <a:lnTo>
                    <a:pt x="1130" y="20"/>
                  </a:lnTo>
                  <a:lnTo>
                    <a:pt x="1175" y="43"/>
                  </a:lnTo>
                  <a:lnTo>
                    <a:pt x="1230" y="52"/>
                  </a:lnTo>
                  <a:close/>
                </a:path>
              </a:pathLst>
            </a:custGeom>
            <a:solidFill>
              <a:srgbClr val="FFB2B4"/>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79" name="Freeform 35"/>
            <p:cNvSpPr>
              <a:spLocks/>
            </p:cNvSpPr>
            <p:nvPr/>
          </p:nvSpPr>
          <p:spPr bwMode="auto">
            <a:xfrm>
              <a:off x="2630" y="2021"/>
              <a:ext cx="412" cy="104"/>
            </a:xfrm>
            <a:custGeom>
              <a:avLst/>
              <a:gdLst/>
              <a:ahLst/>
              <a:cxnLst>
                <a:cxn ang="0">
                  <a:pos x="1236" y="82"/>
                </a:cxn>
                <a:cxn ang="0">
                  <a:pos x="1236" y="139"/>
                </a:cxn>
                <a:cxn ang="0">
                  <a:pos x="1216" y="181"/>
                </a:cxn>
                <a:cxn ang="0">
                  <a:pos x="1181" y="215"/>
                </a:cxn>
                <a:cxn ang="0">
                  <a:pos x="1139" y="251"/>
                </a:cxn>
                <a:cxn ang="0">
                  <a:pos x="1054" y="250"/>
                </a:cxn>
                <a:cxn ang="0">
                  <a:pos x="976" y="238"/>
                </a:cxn>
                <a:cxn ang="0">
                  <a:pos x="897" y="227"/>
                </a:cxn>
                <a:cxn ang="0">
                  <a:pos x="811" y="234"/>
                </a:cxn>
                <a:cxn ang="0">
                  <a:pos x="705" y="254"/>
                </a:cxn>
                <a:cxn ang="0">
                  <a:pos x="596" y="290"/>
                </a:cxn>
                <a:cxn ang="0">
                  <a:pos x="488" y="311"/>
                </a:cxn>
                <a:cxn ang="0">
                  <a:pos x="391" y="290"/>
                </a:cxn>
                <a:cxn ang="0">
                  <a:pos x="317" y="269"/>
                </a:cxn>
                <a:cxn ang="0">
                  <a:pos x="252" y="243"/>
                </a:cxn>
                <a:cxn ang="0">
                  <a:pos x="188" y="208"/>
                </a:cxn>
                <a:cxn ang="0">
                  <a:pos x="125" y="170"/>
                </a:cxn>
                <a:cxn ang="0">
                  <a:pos x="94" y="150"/>
                </a:cxn>
                <a:cxn ang="0">
                  <a:pos x="59" y="131"/>
                </a:cxn>
                <a:cxn ang="0">
                  <a:pos x="25" y="111"/>
                </a:cxn>
                <a:cxn ang="0">
                  <a:pos x="0" y="85"/>
                </a:cxn>
                <a:cxn ang="0">
                  <a:pos x="44" y="66"/>
                </a:cxn>
                <a:cxn ang="0">
                  <a:pos x="104" y="68"/>
                </a:cxn>
                <a:cxn ang="0">
                  <a:pos x="167" y="72"/>
                </a:cxn>
                <a:cxn ang="0">
                  <a:pos x="227" y="72"/>
                </a:cxn>
                <a:cxn ang="0">
                  <a:pos x="310" y="56"/>
                </a:cxn>
                <a:cxn ang="0">
                  <a:pos x="415" y="36"/>
                </a:cxn>
                <a:cxn ang="0">
                  <a:pos x="524" y="19"/>
                </a:cxn>
                <a:cxn ang="0">
                  <a:pos x="635" y="10"/>
                </a:cxn>
                <a:cxn ang="0">
                  <a:pos x="706" y="16"/>
                </a:cxn>
                <a:cxn ang="0">
                  <a:pos x="732" y="21"/>
                </a:cxn>
                <a:cxn ang="0">
                  <a:pos x="760" y="29"/>
                </a:cxn>
                <a:cxn ang="0">
                  <a:pos x="787" y="37"/>
                </a:cxn>
                <a:cxn ang="0">
                  <a:pos x="842" y="27"/>
                </a:cxn>
                <a:cxn ang="0">
                  <a:pos x="938" y="6"/>
                </a:cxn>
                <a:cxn ang="0">
                  <a:pos x="1035" y="0"/>
                </a:cxn>
                <a:cxn ang="0">
                  <a:pos x="1130" y="20"/>
                </a:cxn>
                <a:cxn ang="0">
                  <a:pos x="1230" y="52"/>
                </a:cxn>
              </a:cxnLst>
              <a:rect l="0" t="0" r="r" b="b"/>
              <a:pathLst>
                <a:path w="1237" h="311">
                  <a:moveTo>
                    <a:pt x="1230" y="52"/>
                  </a:moveTo>
                  <a:lnTo>
                    <a:pt x="1236" y="82"/>
                  </a:lnTo>
                  <a:lnTo>
                    <a:pt x="1237" y="113"/>
                  </a:lnTo>
                  <a:lnTo>
                    <a:pt x="1236" y="139"/>
                  </a:lnTo>
                  <a:lnTo>
                    <a:pt x="1227" y="160"/>
                  </a:lnTo>
                  <a:lnTo>
                    <a:pt x="1216" y="181"/>
                  </a:lnTo>
                  <a:lnTo>
                    <a:pt x="1198" y="198"/>
                  </a:lnTo>
                  <a:lnTo>
                    <a:pt x="1181" y="215"/>
                  </a:lnTo>
                  <a:lnTo>
                    <a:pt x="1159" y="233"/>
                  </a:lnTo>
                  <a:lnTo>
                    <a:pt x="1139" y="251"/>
                  </a:lnTo>
                  <a:lnTo>
                    <a:pt x="1094" y="253"/>
                  </a:lnTo>
                  <a:lnTo>
                    <a:pt x="1054" y="250"/>
                  </a:lnTo>
                  <a:lnTo>
                    <a:pt x="1013" y="244"/>
                  </a:lnTo>
                  <a:lnTo>
                    <a:pt x="976" y="238"/>
                  </a:lnTo>
                  <a:lnTo>
                    <a:pt x="936" y="231"/>
                  </a:lnTo>
                  <a:lnTo>
                    <a:pt x="897" y="227"/>
                  </a:lnTo>
                  <a:lnTo>
                    <a:pt x="854" y="227"/>
                  </a:lnTo>
                  <a:lnTo>
                    <a:pt x="811" y="234"/>
                  </a:lnTo>
                  <a:lnTo>
                    <a:pt x="757" y="240"/>
                  </a:lnTo>
                  <a:lnTo>
                    <a:pt x="705" y="254"/>
                  </a:lnTo>
                  <a:lnTo>
                    <a:pt x="650" y="272"/>
                  </a:lnTo>
                  <a:lnTo>
                    <a:pt x="596" y="290"/>
                  </a:lnTo>
                  <a:lnTo>
                    <a:pt x="540" y="303"/>
                  </a:lnTo>
                  <a:lnTo>
                    <a:pt x="488" y="311"/>
                  </a:lnTo>
                  <a:lnTo>
                    <a:pt x="437" y="306"/>
                  </a:lnTo>
                  <a:lnTo>
                    <a:pt x="391" y="290"/>
                  </a:lnTo>
                  <a:lnTo>
                    <a:pt x="352" y="280"/>
                  </a:lnTo>
                  <a:lnTo>
                    <a:pt x="317" y="269"/>
                  </a:lnTo>
                  <a:lnTo>
                    <a:pt x="284" y="256"/>
                  </a:lnTo>
                  <a:lnTo>
                    <a:pt x="252" y="243"/>
                  </a:lnTo>
                  <a:lnTo>
                    <a:pt x="220" y="225"/>
                  </a:lnTo>
                  <a:lnTo>
                    <a:pt x="188" y="208"/>
                  </a:lnTo>
                  <a:lnTo>
                    <a:pt x="156" y="189"/>
                  </a:lnTo>
                  <a:lnTo>
                    <a:pt x="125" y="170"/>
                  </a:lnTo>
                  <a:lnTo>
                    <a:pt x="109" y="159"/>
                  </a:lnTo>
                  <a:lnTo>
                    <a:pt x="94" y="150"/>
                  </a:lnTo>
                  <a:lnTo>
                    <a:pt x="77" y="140"/>
                  </a:lnTo>
                  <a:lnTo>
                    <a:pt x="59" y="131"/>
                  </a:lnTo>
                  <a:lnTo>
                    <a:pt x="42" y="121"/>
                  </a:lnTo>
                  <a:lnTo>
                    <a:pt x="25" y="111"/>
                  </a:lnTo>
                  <a:lnTo>
                    <a:pt x="10" y="98"/>
                  </a:lnTo>
                  <a:lnTo>
                    <a:pt x="0" y="85"/>
                  </a:lnTo>
                  <a:lnTo>
                    <a:pt x="15" y="71"/>
                  </a:lnTo>
                  <a:lnTo>
                    <a:pt x="44" y="66"/>
                  </a:lnTo>
                  <a:lnTo>
                    <a:pt x="74" y="66"/>
                  </a:lnTo>
                  <a:lnTo>
                    <a:pt x="104" y="68"/>
                  </a:lnTo>
                  <a:lnTo>
                    <a:pt x="136" y="71"/>
                  </a:lnTo>
                  <a:lnTo>
                    <a:pt x="167" y="72"/>
                  </a:lnTo>
                  <a:lnTo>
                    <a:pt x="197" y="74"/>
                  </a:lnTo>
                  <a:lnTo>
                    <a:pt x="227" y="72"/>
                  </a:lnTo>
                  <a:lnTo>
                    <a:pt x="258" y="68"/>
                  </a:lnTo>
                  <a:lnTo>
                    <a:pt x="310" y="56"/>
                  </a:lnTo>
                  <a:lnTo>
                    <a:pt x="363" y="46"/>
                  </a:lnTo>
                  <a:lnTo>
                    <a:pt x="415" y="36"/>
                  </a:lnTo>
                  <a:lnTo>
                    <a:pt x="470" y="27"/>
                  </a:lnTo>
                  <a:lnTo>
                    <a:pt x="524" y="19"/>
                  </a:lnTo>
                  <a:lnTo>
                    <a:pt x="579" y="13"/>
                  </a:lnTo>
                  <a:lnTo>
                    <a:pt x="635" y="10"/>
                  </a:lnTo>
                  <a:lnTo>
                    <a:pt x="693" y="13"/>
                  </a:lnTo>
                  <a:lnTo>
                    <a:pt x="706" y="16"/>
                  </a:lnTo>
                  <a:lnTo>
                    <a:pt x="719" y="19"/>
                  </a:lnTo>
                  <a:lnTo>
                    <a:pt x="732" y="21"/>
                  </a:lnTo>
                  <a:lnTo>
                    <a:pt x="747" y="26"/>
                  </a:lnTo>
                  <a:lnTo>
                    <a:pt x="760" y="29"/>
                  </a:lnTo>
                  <a:lnTo>
                    <a:pt x="774" y="33"/>
                  </a:lnTo>
                  <a:lnTo>
                    <a:pt x="787" y="37"/>
                  </a:lnTo>
                  <a:lnTo>
                    <a:pt x="800" y="46"/>
                  </a:lnTo>
                  <a:lnTo>
                    <a:pt x="842" y="27"/>
                  </a:lnTo>
                  <a:lnTo>
                    <a:pt x="890" y="14"/>
                  </a:lnTo>
                  <a:lnTo>
                    <a:pt x="938" y="6"/>
                  </a:lnTo>
                  <a:lnTo>
                    <a:pt x="987" y="1"/>
                  </a:lnTo>
                  <a:lnTo>
                    <a:pt x="1035" y="0"/>
                  </a:lnTo>
                  <a:lnTo>
                    <a:pt x="1084" y="7"/>
                  </a:lnTo>
                  <a:lnTo>
                    <a:pt x="1130" y="20"/>
                  </a:lnTo>
                  <a:lnTo>
                    <a:pt x="1175" y="43"/>
                  </a:lnTo>
                  <a:lnTo>
                    <a:pt x="1230" y="52"/>
                  </a:lnTo>
                  <a:close/>
                </a:path>
              </a:pathLst>
            </a:custGeom>
            <a:solidFill>
              <a:srgbClr val="FFB4B6"/>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80" name="Freeform 36"/>
            <p:cNvSpPr>
              <a:spLocks/>
            </p:cNvSpPr>
            <p:nvPr/>
          </p:nvSpPr>
          <p:spPr bwMode="auto">
            <a:xfrm>
              <a:off x="2630" y="2021"/>
              <a:ext cx="410" cy="100"/>
            </a:xfrm>
            <a:custGeom>
              <a:avLst/>
              <a:gdLst/>
              <a:ahLst/>
              <a:cxnLst>
                <a:cxn ang="0">
                  <a:pos x="1227" y="82"/>
                </a:cxn>
                <a:cxn ang="0">
                  <a:pos x="1229" y="136"/>
                </a:cxn>
                <a:cxn ang="0">
                  <a:pos x="1211" y="173"/>
                </a:cxn>
                <a:cxn ang="0">
                  <a:pos x="1178" y="202"/>
                </a:cxn>
                <a:cxn ang="0">
                  <a:pos x="1136" y="237"/>
                </a:cxn>
                <a:cxn ang="0">
                  <a:pos x="1052" y="234"/>
                </a:cxn>
                <a:cxn ang="0">
                  <a:pos x="978" y="220"/>
                </a:cxn>
                <a:cxn ang="0">
                  <a:pos x="902" y="207"/>
                </a:cxn>
                <a:cxn ang="0">
                  <a:pos x="818" y="212"/>
                </a:cxn>
                <a:cxn ang="0">
                  <a:pos x="711" y="234"/>
                </a:cxn>
                <a:cxn ang="0">
                  <a:pos x="601" y="275"/>
                </a:cxn>
                <a:cxn ang="0">
                  <a:pos x="492" y="299"/>
                </a:cxn>
                <a:cxn ang="0">
                  <a:pos x="394" y="282"/>
                </a:cxn>
                <a:cxn ang="0">
                  <a:pos x="321" y="262"/>
                </a:cxn>
                <a:cxn ang="0">
                  <a:pos x="258" y="237"/>
                </a:cxn>
                <a:cxn ang="0">
                  <a:pos x="197" y="204"/>
                </a:cxn>
                <a:cxn ang="0">
                  <a:pos x="133" y="166"/>
                </a:cxn>
                <a:cxn ang="0">
                  <a:pos x="100" y="146"/>
                </a:cxn>
                <a:cxn ang="0">
                  <a:pos x="62" y="130"/>
                </a:cxn>
                <a:cxn ang="0">
                  <a:pos x="26" y="110"/>
                </a:cxn>
                <a:cxn ang="0">
                  <a:pos x="0" y="85"/>
                </a:cxn>
                <a:cxn ang="0">
                  <a:pos x="44" y="66"/>
                </a:cxn>
                <a:cxn ang="0">
                  <a:pos x="104" y="68"/>
                </a:cxn>
                <a:cxn ang="0">
                  <a:pos x="167" y="72"/>
                </a:cxn>
                <a:cxn ang="0">
                  <a:pos x="227" y="72"/>
                </a:cxn>
                <a:cxn ang="0">
                  <a:pos x="310" y="56"/>
                </a:cxn>
                <a:cxn ang="0">
                  <a:pos x="415" y="36"/>
                </a:cxn>
                <a:cxn ang="0">
                  <a:pos x="524" y="19"/>
                </a:cxn>
                <a:cxn ang="0">
                  <a:pos x="635" y="10"/>
                </a:cxn>
                <a:cxn ang="0">
                  <a:pos x="706" y="16"/>
                </a:cxn>
                <a:cxn ang="0">
                  <a:pos x="732" y="21"/>
                </a:cxn>
                <a:cxn ang="0">
                  <a:pos x="760" y="29"/>
                </a:cxn>
                <a:cxn ang="0">
                  <a:pos x="787" y="37"/>
                </a:cxn>
                <a:cxn ang="0">
                  <a:pos x="842" y="27"/>
                </a:cxn>
                <a:cxn ang="0">
                  <a:pos x="938" y="6"/>
                </a:cxn>
                <a:cxn ang="0">
                  <a:pos x="1035" y="0"/>
                </a:cxn>
                <a:cxn ang="0">
                  <a:pos x="1130" y="20"/>
                </a:cxn>
                <a:cxn ang="0">
                  <a:pos x="1230" y="52"/>
                </a:cxn>
              </a:cxnLst>
              <a:rect l="0" t="0" r="r" b="b"/>
              <a:pathLst>
                <a:path w="1230" h="299">
                  <a:moveTo>
                    <a:pt x="1230" y="52"/>
                  </a:moveTo>
                  <a:lnTo>
                    <a:pt x="1227" y="82"/>
                  </a:lnTo>
                  <a:lnTo>
                    <a:pt x="1230" y="111"/>
                  </a:lnTo>
                  <a:lnTo>
                    <a:pt x="1229" y="136"/>
                  </a:lnTo>
                  <a:lnTo>
                    <a:pt x="1222" y="156"/>
                  </a:lnTo>
                  <a:lnTo>
                    <a:pt x="1211" y="173"/>
                  </a:lnTo>
                  <a:lnTo>
                    <a:pt x="1195" y="188"/>
                  </a:lnTo>
                  <a:lnTo>
                    <a:pt x="1178" y="202"/>
                  </a:lnTo>
                  <a:lnTo>
                    <a:pt x="1156" y="218"/>
                  </a:lnTo>
                  <a:lnTo>
                    <a:pt x="1136" y="237"/>
                  </a:lnTo>
                  <a:lnTo>
                    <a:pt x="1091" y="237"/>
                  </a:lnTo>
                  <a:lnTo>
                    <a:pt x="1052" y="234"/>
                  </a:lnTo>
                  <a:lnTo>
                    <a:pt x="1015" y="227"/>
                  </a:lnTo>
                  <a:lnTo>
                    <a:pt x="978" y="220"/>
                  </a:lnTo>
                  <a:lnTo>
                    <a:pt x="941" y="211"/>
                  </a:lnTo>
                  <a:lnTo>
                    <a:pt x="902" y="207"/>
                  </a:lnTo>
                  <a:lnTo>
                    <a:pt x="861" y="205"/>
                  </a:lnTo>
                  <a:lnTo>
                    <a:pt x="818" y="212"/>
                  </a:lnTo>
                  <a:lnTo>
                    <a:pt x="764" y="218"/>
                  </a:lnTo>
                  <a:lnTo>
                    <a:pt x="711" y="234"/>
                  </a:lnTo>
                  <a:lnTo>
                    <a:pt x="656" y="253"/>
                  </a:lnTo>
                  <a:lnTo>
                    <a:pt x="601" y="275"/>
                  </a:lnTo>
                  <a:lnTo>
                    <a:pt x="544" y="289"/>
                  </a:lnTo>
                  <a:lnTo>
                    <a:pt x="492" y="299"/>
                  </a:lnTo>
                  <a:lnTo>
                    <a:pt x="440" y="298"/>
                  </a:lnTo>
                  <a:lnTo>
                    <a:pt x="394" y="282"/>
                  </a:lnTo>
                  <a:lnTo>
                    <a:pt x="355" y="272"/>
                  </a:lnTo>
                  <a:lnTo>
                    <a:pt x="321" y="262"/>
                  </a:lnTo>
                  <a:lnTo>
                    <a:pt x="288" y="249"/>
                  </a:lnTo>
                  <a:lnTo>
                    <a:pt x="258" y="237"/>
                  </a:lnTo>
                  <a:lnTo>
                    <a:pt x="227" y="220"/>
                  </a:lnTo>
                  <a:lnTo>
                    <a:pt x="197" y="204"/>
                  </a:lnTo>
                  <a:lnTo>
                    <a:pt x="165" y="185"/>
                  </a:lnTo>
                  <a:lnTo>
                    <a:pt x="133" y="166"/>
                  </a:lnTo>
                  <a:lnTo>
                    <a:pt x="116" y="155"/>
                  </a:lnTo>
                  <a:lnTo>
                    <a:pt x="100" y="146"/>
                  </a:lnTo>
                  <a:lnTo>
                    <a:pt x="81" y="137"/>
                  </a:lnTo>
                  <a:lnTo>
                    <a:pt x="62" y="130"/>
                  </a:lnTo>
                  <a:lnTo>
                    <a:pt x="44" y="120"/>
                  </a:lnTo>
                  <a:lnTo>
                    <a:pt x="26" y="110"/>
                  </a:lnTo>
                  <a:lnTo>
                    <a:pt x="10" y="98"/>
                  </a:lnTo>
                  <a:lnTo>
                    <a:pt x="0" y="85"/>
                  </a:lnTo>
                  <a:lnTo>
                    <a:pt x="15" y="71"/>
                  </a:lnTo>
                  <a:lnTo>
                    <a:pt x="44" y="66"/>
                  </a:lnTo>
                  <a:lnTo>
                    <a:pt x="74" y="66"/>
                  </a:lnTo>
                  <a:lnTo>
                    <a:pt x="104" y="68"/>
                  </a:lnTo>
                  <a:lnTo>
                    <a:pt x="136" y="71"/>
                  </a:lnTo>
                  <a:lnTo>
                    <a:pt x="167" y="72"/>
                  </a:lnTo>
                  <a:lnTo>
                    <a:pt x="197" y="74"/>
                  </a:lnTo>
                  <a:lnTo>
                    <a:pt x="227" y="72"/>
                  </a:lnTo>
                  <a:lnTo>
                    <a:pt x="258" y="68"/>
                  </a:lnTo>
                  <a:lnTo>
                    <a:pt x="310" y="56"/>
                  </a:lnTo>
                  <a:lnTo>
                    <a:pt x="363" y="46"/>
                  </a:lnTo>
                  <a:lnTo>
                    <a:pt x="415" y="36"/>
                  </a:lnTo>
                  <a:lnTo>
                    <a:pt x="470" y="27"/>
                  </a:lnTo>
                  <a:lnTo>
                    <a:pt x="524" y="19"/>
                  </a:lnTo>
                  <a:lnTo>
                    <a:pt x="579" y="13"/>
                  </a:lnTo>
                  <a:lnTo>
                    <a:pt x="635" y="10"/>
                  </a:lnTo>
                  <a:lnTo>
                    <a:pt x="693" y="13"/>
                  </a:lnTo>
                  <a:lnTo>
                    <a:pt x="706" y="16"/>
                  </a:lnTo>
                  <a:lnTo>
                    <a:pt x="719" y="19"/>
                  </a:lnTo>
                  <a:lnTo>
                    <a:pt x="732" y="21"/>
                  </a:lnTo>
                  <a:lnTo>
                    <a:pt x="747" y="26"/>
                  </a:lnTo>
                  <a:lnTo>
                    <a:pt x="760" y="29"/>
                  </a:lnTo>
                  <a:lnTo>
                    <a:pt x="774" y="33"/>
                  </a:lnTo>
                  <a:lnTo>
                    <a:pt x="787" y="37"/>
                  </a:lnTo>
                  <a:lnTo>
                    <a:pt x="800" y="46"/>
                  </a:lnTo>
                  <a:lnTo>
                    <a:pt x="842" y="27"/>
                  </a:lnTo>
                  <a:lnTo>
                    <a:pt x="890" y="14"/>
                  </a:lnTo>
                  <a:lnTo>
                    <a:pt x="938" y="6"/>
                  </a:lnTo>
                  <a:lnTo>
                    <a:pt x="987" y="1"/>
                  </a:lnTo>
                  <a:lnTo>
                    <a:pt x="1035" y="0"/>
                  </a:lnTo>
                  <a:lnTo>
                    <a:pt x="1084" y="7"/>
                  </a:lnTo>
                  <a:lnTo>
                    <a:pt x="1130" y="20"/>
                  </a:lnTo>
                  <a:lnTo>
                    <a:pt x="1175" y="43"/>
                  </a:lnTo>
                  <a:lnTo>
                    <a:pt x="1230" y="52"/>
                  </a:lnTo>
                  <a:close/>
                </a:path>
              </a:pathLst>
            </a:custGeom>
            <a:solidFill>
              <a:srgbClr val="FFB6B8"/>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81" name="Freeform 37"/>
            <p:cNvSpPr>
              <a:spLocks/>
            </p:cNvSpPr>
            <p:nvPr/>
          </p:nvSpPr>
          <p:spPr bwMode="auto">
            <a:xfrm>
              <a:off x="2630" y="2021"/>
              <a:ext cx="410" cy="97"/>
            </a:xfrm>
            <a:custGeom>
              <a:avLst/>
              <a:gdLst/>
              <a:ahLst/>
              <a:cxnLst>
                <a:cxn ang="0">
                  <a:pos x="1219" y="82"/>
                </a:cxn>
                <a:cxn ang="0">
                  <a:pos x="1220" y="134"/>
                </a:cxn>
                <a:cxn ang="0">
                  <a:pos x="1206" y="166"/>
                </a:cxn>
                <a:cxn ang="0">
                  <a:pos x="1175" y="191"/>
                </a:cxn>
                <a:cxn ang="0">
                  <a:pos x="1135" y="222"/>
                </a:cxn>
                <a:cxn ang="0">
                  <a:pos x="1052" y="220"/>
                </a:cxn>
                <a:cxn ang="0">
                  <a:pos x="981" y="202"/>
                </a:cxn>
                <a:cxn ang="0">
                  <a:pos x="908" y="186"/>
                </a:cxn>
                <a:cxn ang="0">
                  <a:pos x="825" y="191"/>
                </a:cxn>
                <a:cxn ang="0">
                  <a:pos x="716" y="214"/>
                </a:cxn>
                <a:cxn ang="0">
                  <a:pos x="605" y="259"/>
                </a:cxn>
                <a:cxn ang="0">
                  <a:pos x="494" y="289"/>
                </a:cxn>
                <a:cxn ang="0">
                  <a:pos x="395" y="275"/>
                </a:cxn>
                <a:cxn ang="0">
                  <a:pos x="323" y="254"/>
                </a:cxn>
                <a:cxn ang="0">
                  <a:pos x="262" y="230"/>
                </a:cxn>
                <a:cxn ang="0">
                  <a:pos x="204" y="198"/>
                </a:cxn>
                <a:cxn ang="0">
                  <a:pos x="142" y="160"/>
                </a:cxn>
                <a:cxn ang="0">
                  <a:pos x="107" y="141"/>
                </a:cxn>
                <a:cxn ang="0">
                  <a:pos x="67" y="127"/>
                </a:cxn>
                <a:cxn ang="0">
                  <a:pos x="28" y="110"/>
                </a:cxn>
                <a:cxn ang="0">
                  <a:pos x="0" y="85"/>
                </a:cxn>
                <a:cxn ang="0">
                  <a:pos x="44" y="66"/>
                </a:cxn>
                <a:cxn ang="0">
                  <a:pos x="104" y="68"/>
                </a:cxn>
                <a:cxn ang="0">
                  <a:pos x="167" y="72"/>
                </a:cxn>
                <a:cxn ang="0">
                  <a:pos x="227" y="72"/>
                </a:cxn>
                <a:cxn ang="0">
                  <a:pos x="310" y="56"/>
                </a:cxn>
                <a:cxn ang="0">
                  <a:pos x="415" y="36"/>
                </a:cxn>
                <a:cxn ang="0">
                  <a:pos x="524" y="19"/>
                </a:cxn>
                <a:cxn ang="0">
                  <a:pos x="635" y="10"/>
                </a:cxn>
                <a:cxn ang="0">
                  <a:pos x="706" y="16"/>
                </a:cxn>
                <a:cxn ang="0">
                  <a:pos x="732" y="21"/>
                </a:cxn>
                <a:cxn ang="0">
                  <a:pos x="760" y="29"/>
                </a:cxn>
                <a:cxn ang="0">
                  <a:pos x="787" y="37"/>
                </a:cxn>
                <a:cxn ang="0">
                  <a:pos x="842" y="27"/>
                </a:cxn>
                <a:cxn ang="0">
                  <a:pos x="938" y="6"/>
                </a:cxn>
                <a:cxn ang="0">
                  <a:pos x="1035" y="0"/>
                </a:cxn>
                <a:cxn ang="0">
                  <a:pos x="1130" y="20"/>
                </a:cxn>
                <a:cxn ang="0">
                  <a:pos x="1230" y="52"/>
                </a:cxn>
              </a:cxnLst>
              <a:rect l="0" t="0" r="r" b="b"/>
              <a:pathLst>
                <a:path w="1230" h="289">
                  <a:moveTo>
                    <a:pt x="1230" y="52"/>
                  </a:moveTo>
                  <a:lnTo>
                    <a:pt x="1219" y="82"/>
                  </a:lnTo>
                  <a:lnTo>
                    <a:pt x="1222" y="111"/>
                  </a:lnTo>
                  <a:lnTo>
                    <a:pt x="1220" y="134"/>
                  </a:lnTo>
                  <a:lnTo>
                    <a:pt x="1214" y="152"/>
                  </a:lnTo>
                  <a:lnTo>
                    <a:pt x="1206" y="166"/>
                  </a:lnTo>
                  <a:lnTo>
                    <a:pt x="1191" y="178"/>
                  </a:lnTo>
                  <a:lnTo>
                    <a:pt x="1175" y="191"/>
                  </a:lnTo>
                  <a:lnTo>
                    <a:pt x="1155" y="204"/>
                  </a:lnTo>
                  <a:lnTo>
                    <a:pt x="1135" y="222"/>
                  </a:lnTo>
                  <a:lnTo>
                    <a:pt x="1091" y="222"/>
                  </a:lnTo>
                  <a:lnTo>
                    <a:pt x="1052" y="220"/>
                  </a:lnTo>
                  <a:lnTo>
                    <a:pt x="1016" y="211"/>
                  </a:lnTo>
                  <a:lnTo>
                    <a:pt x="981" y="202"/>
                  </a:lnTo>
                  <a:lnTo>
                    <a:pt x="944" y="192"/>
                  </a:lnTo>
                  <a:lnTo>
                    <a:pt x="908" y="186"/>
                  </a:lnTo>
                  <a:lnTo>
                    <a:pt x="868" y="183"/>
                  </a:lnTo>
                  <a:lnTo>
                    <a:pt x="825" y="191"/>
                  </a:lnTo>
                  <a:lnTo>
                    <a:pt x="771" y="196"/>
                  </a:lnTo>
                  <a:lnTo>
                    <a:pt x="716" y="214"/>
                  </a:lnTo>
                  <a:lnTo>
                    <a:pt x="660" y="236"/>
                  </a:lnTo>
                  <a:lnTo>
                    <a:pt x="605" y="259"/>
                  </a:lnTo>
                  <a:lnTo>
                    <a:pt x="549" y="277"/>
                  </a:lnTo>
                  <a:lnTo>
                    <a:pt x="494" y="289"/>
                  </a:lnTo>
                  <a:lnTo>
                    <a:pt x="442" y="289"/>
                  </a:lnTo>
                  <a:lnTo>
                    <a:pt x="395" y="275"/>
                  </a:lnTo>
                  <a:lnTo>
                    <a:pt x="356" y="264"/>
                  </a:lnTo>
                  <a:lnTo>
                    <a:pt x="323" y="254"/>
                  </a:lnTo>
                  <a:lnTo>
                    <a:pt x="291" y="241"/>
                  </a:lnTo>
                  <a:lnTo>
                    <a:pt x="262" y="230"/>
                  </a:lnTo>
                  <a:lnTo>
                    <a:pt x="232" y="214"/>
                  </a:lnTo>
                  <a:lnTo>
                    <a:pt x="204" y="198"/>
                  </a:lnTo>
                  <a:lnTo>
                    <a:pt x="172" y="179"/>
                  </a:lnTo>
                  <a:lnTo>
                    <a:pt x="142" y="160"/>
                  </a:lnTo>
                  <a:lnTo>
                    <a:pt x="125" y="150"/>
                  </a:lnTo>
                  <a:lnTo>
                    <a:pt x="107" y="141"/>
                  </a:lnTo>
                  <a:lnTo>
                    <a:pt x="87" y="133"/>
                  </a:lnTo>
                  <a:lnTo>
                    <a:pt x="67" y="127"/>
                  </a:lnTo>
                  <a:lnTo>
                    <a:pt x="45" y="118"/>
                  </a:lnTo>
                  <a:lnTo>
                    <a:pt x="28" y="110"/>
                  </a:lnTo>
                  <a:lnTo>
                    <a:pt x="12" y="98"/>
                  </a:lnTo>
                  <a:lnTo>
                    <a:pt x="0" y="85"/>
                  </a:lnTo>
                  <a:lnTo>
                    <a:pt x="15" y="71"/>
                  </a:lnTo>
                  <a:lnTo>
                    <a:pt x="44" y="66"/>
                  </a:lnTo>
                  <a:lnTo>
                    <a:pt x="74" y="66"/>
                  </a:lnTo>
                  <a:lnTo>
                    <a:pt x="104" y="68"/>
                  </a:lnTo>
                  <a:lnTo>
                    <a:pt x="136" y="71"/>
                  </a:lnTo>
                  <a:lnTo>
                    <a:pt x="167" y="72"/>
                  </a:lnTo>
                  <a:lnTo>
                    <a:pt x="197" y="74"/>
                  </a:lnTo>
                  <a:lnTo>
                    <a:pt x="227" y="72"/>
                  </a:lnTo>
                  <a:lnTo>
                    <a:pt x="258" y="68"/>
                  </a:lnTo>
                  <a:lnTo>
                    <a:pt x="310" y="56"/>
                  </a:lnTo>
                  <a:lnTo>
                    <a:pt x="363" y="46"/>
                  </a:lnTo>
                  <a:lnTo>
                    <a:pt x="415" y="36"/>
                  </a:lnTo>
                  <a:lnTo>
                    <a:pt x="470" y="27"/>
                  </a:lnTo>
                  <a:lnTo>
                    <a:pt x="524" y="19"/>
                  </a:lnTo>
                  <a:lnTo>
                    <a:pt x="579" y="13"/>
                  </a:lnTo>
                  <a:lnTo>
                    <a:pt x="635" y="10"/>
                  </a:lnTo>
                  <a:lnTo>
                    <a:pt x="693" y="13"/>
                  </a:lnTo>
                  <a:lnTo>
                    <a:pt x="706" y="16"/>
                  </a:lnTo>
                  <a:lnTo>
                    <a:pt x="719" y="19"/>
                  </a:lnTo>
                  <a:lnTo>
                    <a:pt x="732" y="21"/>
                  </a:lnTo>
                  <a:lnTo>
                    <a:pt x="747" y="26"/>
                  </a:lnTo>
                  <a:lnTo>
                    <a:pt x="760" y="29"/>
                  </a:lnTo>
                  <a:lnTo>
                    <a:pt x="774" y="33"/>
                  </a:lnTo>
                  <a:lnTo>
                    <a:pt x="787" y="37"/>
                  </a:lnTo>
                  <a:lnTo>
                    <a:pt x="800" y="46"/>
                  </a:lnTo>
                  <a:lnTo>
                    <a:pt x="842" y="27"/>
                  </a:lnTo>
                  <a:lnTo>
                    <a:pt x="890" y="14"/>
                  </a:lnTo>
                  <a:lnTo>
                    <a:pt x="938" y="6"/>
                  </a:lnTo>
                  <a:lnTo>
                    <a:pt x="987" y="1"/>
                  </a:lnTo>
                  <a:lnTo>
                    <a:pt x="1035" y="0"/>
                  </a:lnTo>
                  <a:lnTo>
                    <a:pt x="1084" y="7"/>
                  </a:lnTo>
                  <a:lnTo>
                    <a:pt x="1130" y="20"/>
                  </a:lnTo>
                  <a:lnTo>
                    <a:pt x="1175" y="43"/>
                  </a:lnTo>
                  <a:lnTo>
                    <a:pt x="1230" y="52"/>
                  </a:lnTo>
                  <a:close/>
                </a:path>
              </a:pathLst>
            </a:custGeom>
            <a:solidFill>
              <a:srgbClr val="FFB8BA"/>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82" name="Freeform 38"/>
            <p:cNvSpPr>
              <a:spLocks/>
            </p:cNvSpPr>
            <p:nvPr/>
          </p:nvSpPr>
          <p:spPr bwMode="auto">
            <a:xfrm>
              <a:off x="2630" y="2021"/>
              <a:ext cx="410" cy="94"/>
            </a:xfrm>
            <a:custGeom>
              <a:avLst/>
              <a:gdLst/>
              <a:ahLst/>
              <a:cxnLst>
                <a:cxn ang="0">
                  <a:pos x="1211" y="82"/>
                </a:cxn>
                <a:cxn ang="0">
                  <a:pos x="1214" y="131"/>
                </a:cxn>
                <a:cxn ang="0">
                  <a:pos x="1200" y="159"/>
                </a:cxn>
                <a:cxn ang="0">
                  <a:pos x="1172" y="178"/>
                </a:cxn>
                <a:cxn ang="0">
                  <a:pos x="1133" y="207"/>
                </a:cxn>
                <a:cxn ang="0">
                  <a:pos x="1052" y="202"/>
                </a:cxn>
                <a:cxn ang="0">
                  <a:pos x="984" y="183"/>
                </a:cxn>
                <a:cxn ang="0">
                  <a:pos x="915" y="165"/>
                </a:cxn>
                <a:cxn ang="0">
                  <a:pos x="832" y="169"/>
                </a:cxn>
                <a:cxn ang="0">
                  <a:pos x="724" y="195"/>
                </a:cxn>
                <a:cxn ang="0">
                  <a:pos x="609" y="244"/>
                </a:cxn>
                <a:cxn ang="0">
                  <a:pos x="497" y="280"/>
                </a:cxn>
                <a:cxn ang="0">
                  <a:pos x="397" y="266"/>
                </a:cxn>
                <a:cxn ang="0">
                  <a:pos x="326" y="246"/>
                </a:cxn>
                <a:cxn ang="0">
                  <a:pos x="268" y="222"/>
                </a:cxn>
                <a:cxn ang="0">
                  <a:pos x="211" y="192"/>
                </a:cxn>
                <a:cxn ang="0">
                  <a:pos x="151" y="155"/>
                </a:cxn>
                <a:cxn ang="0">
                  <a:pos x="114" y="137"/>
                </a:cxn>
                <a:cxn ang="0">
                  <a:pos x="71" y="124"/>
                </a:cxn>
                <a:cxn ang="0">
                  <a:pos x="29" y="108"/>
                </a:cxn>
                <a:cxn ang="0">
                  <a:pos x="0" y="85"/>
                </a:cxn>
                <a:cxn ang="0">
                  <a:pos x="44" y="66"/>
                </a:cxn>
                <a:cxn ang="0">
                  <a:pos x="104" y="68"/>
                </a:cxn>
                <a:cxn ang="0">
                  <a:pos x="167" y="72"/>
                </a:cxn>
                <a:cxn ang="0">
                  <a:pos x="227" y="72"/>
                </a:cxn>
                <a:cxn ang="0">
                  <a:pos x="310" y="56"/>
                </a:cxn>
                <a:cxn ang="0">
                  <a:pos x="415" y="36"/>
                </a:cxn>
                <a:cxn ang="0">
                  <a:pos x="524" y="19"/>
                </a:cxn>
                <a:cxn ang="0">
                  <a:pos x="635" y="10"/>
                </a:cxn>
                <a:cxn ang="0">
                  <a:pos x="706" y="16"/>
                </a:cxn>
                <a:cxn ang="0">
                  <a:pos x="732" y="21"/>
                </a:cxn>
                <a:cxn ang="0">
                  <a:pos x="760" y="29"/>
                </a:cxn>
                <a:cxn ang="0">
                  <a:pos x="787" y="37"/>
                </a:cxn>
                <a:cxn ang="0">
                  <a:pos x="842" y="27"/>
                </a:cxn>
                <a:cxn ang="0">
                  <a:pos x="938" y="6"/>
                </a:cxn>
                <a:cxn ang="0">
                  <a:pos x="1035" y="0"/>
                </a:cxn>
                <a:cxn ang="0">
                  <a:pos x="1130" y="20"/>
                </a:cxn>
                <a:cxn ang="0">
                  <a:pos x="1230" y="52"/>
                </a:cxn>
              </a:cxnLst>
              <a:rect l="0" t="0" r="r" b="b"/>
              <a:pathLst>
                <a:path w="1230" h="282">
                  <a:moveTo>
                    <a:pt x="1230" y="52"/>
                  </a:moveTo>
                  <a:lnTo>
                    <a:pt x="1211" y="82"/>
                  </a:lnTo>
                  <a:lnTo>
                    <a:pt x="1214" y="110"/>
                  </a:lnTo>
                  <a:lnTo>
                    <a:pt x="1214" y="131"/>
                  </a:lnTo>
                  <a:lnTo>
                    <a:pt x="1209" y="147"/>
                  </a:lnTo>
                  <a:lnTo>
                    <a:pt x="1200" y="159"/>
                  </a:lnTo>
                  <a:lnTo>
                    <a:pt x="1187" y="168"/>
                  </a:lnTo>
                  <a:lnTo>
                    <a:pt x="1172" y="178"/>
                  </a:lnTo>
                  <a:lnTo>
                    <a:pt x="1154" y="189"/>
                  </a:lnTo>
                  <a:lnTo>
                    <a:pt x="1133" y="207"/>
                  </a:lnTo>
                  <a:lnTo>
                    <a:pt x="1090" y="207"/>
                  </a:lnTo>
                  <a:lnTo>
                    <a:pt x="1052" y="202"/>
                  </a:lnTo>
                  <a:lnTo>
                    <a:pt x="1016" y="194"/>
                  </a:lnTo>
                  <a:lnTo>
                    <a:pt x="984" y="183"/>
                  </a:lnTo>
                  <a:lnTo>
                    <a:pt x="949" y="172"/>
                  </a:lnTo>
                  <a:lnTo>
                    <a:pt x="915" y="165"/>
                  </a:lnTo>
                  <a:lnTo>
                    <a:pt x="876" y="162"/>
                  </a:lnTo>
                  <a:lnTo>
                    <a:pt x="832" y="169"/>
                  </a:lnTo>
                  <a:lnTo>
                    <a:pt x="779" y="176"/>
                  </a:lnTo>
                  <a:lnTo>
                    <a:pt x="724" y="195"/>
                  </a:lnTo>
                  <a:lnTo>
                    <a:pt x="666" y="218"/>
                  </a:lnTo>
                  <a:lnTo>
                    <a:pt x="609" y="244"/>
                  </a:lnTo>
                  <a:lnTo>
                    <a:pt x="552" y="266"/>
                  </a:lnTo>
                  <a:lnTo>
                    <a:pt x="497" y="280"/>
                  </a:lnTo>
                  <a:lnTo>
                    <a:pt x="444" y="282"/>
                  </a:lnTo>
                  <a:lnTo>
                    <a:pt x="397" y="266"/>
                  </a:lnTo>
                  <a:lnTo>
                    <a:pt x="359" y="256"/>
                  </a:lnTo>
                  <a:lnTo>
                    <a:pt x="326" y="246"/>
                  </a:lnTo>
                  <a:lnTo>
                    <a:pt x="295" y="234"/>
                  </a:lnTo>
                  <a:lnTo>
                    <a:pt x="268" y="222"/>
                  </a:lnTo>
                  <a:lnTo>
                    <a:pt x="239" y="208"/>
                  </a:lnTo>
                  <a:lnTo>
                    <a:pt x="211" y="192"/>
                  </a:lnTo>
                  <a:lnTo>
                    <a:pt x="181" y="173"/>
                  </a:lnTo>
                  <a:lnTo>
                    <a:pt x="151" y="155"/>
                  </a:lnTo>
                  <a:lnTo>
                    <a:pt x="133" y="144"/>
                  </a:lnTo>
                  <a:lnTo>
                    <a:pt x="114" y="137"/>
                  </a:lnTo>
                  <a:lnTo>
                    <a:pt x="93" y="130"/>
                  </a:lnTo>
                  <a:lnTo>
                    <a:pt x="71" y="124"/>
                  </a:lnTo>
                  <a:lnTo>
                    <a:pt x="49" y="115"/>
                  </a:lnTo>
                  <a:lnTo>
                    <a:pt x="29" y="108"/>
                  </a:lnTo>
                  <a:lnTo>
                    <a:pt x="12" y="98"/>
                  </a:lnTo>
                  <a:lnTo>
                    <a:pt x="0" y="85"/>
                  </a:lnTo>
                  <a:lnTo>
                    <a:pt x="15" y="71"/>
                  </a:lnTo>
                  <a:lnTo>
                    <a:pt x="44" y="66"/>
                  </a:lnTo>
                  <a:lnTo>
                    <a:pt x="74" y="66"/>
                  </a:lnTo>
                  <a:lnTo>
                    <a:pt x="104" y="68"/>
                  </a:lnTo>
                  <a:lnTo>
                    <a:pt x="136" y="71"/>
                  </a:lnTo>
                  <a:lnTo>
                    <a:pt x="167" y="72"/>
                  </a:lnTo>
                  <a:lnTo>
                    <a:pt x="197" y="74"/>
                  </a:lnTo>
                  <a:lnTo>
                    <a:pt x="227" y="72"/>
                  </a:lnTo>
                  <a:lnTo>
                    <a:pt x="258" y="68"/>
                  </a:lnTo>
                  <a:lnTo>
                    <a:pt x="310" y="56"/>
                  </a:lnTo>
                  <a:lnTo>
                    <a:pt x="363" y="46"/>
                  </a:lnTo>
                  <a:lnTo>
                    <a:pt x="415" y="36"/>
                  </a:lnTo>
                  <a:lnTo>
                    <a:pt x="470" y="27"/>
                  </a:lnTo>
                  <a:lnTo>
                    <a:pt x="524" y="19"/>
                  </a:lnTo>
                  <a:lnTo>
                    <a:pt x="579" y="13"/>
                  </a:lnTo>
                  <a:lnTo>
                    <a:pt x="635" y="10"/>
                  </a:lnTo>
                  <a:lnTo>
                    <a:pt x="693" y="13"/>
                  </a:lnTo>
                  <a:lnTo>
                    <a:pt x="706" y="16"/>
                  </a:lnTo>
                  <a:lnTo>
                    <a:pt x="719" y="19"/>
                  </a:lnTo>
                  <a:lnTo>
                    <a:pt x="732" y="21"/>
                  </a:lnTo>
                  <a:lnTo>
                    <a:pt x="747" y="26"/>
                  </a:lnTo>
                  <a:lnTo>
                    <a:pt x="760" y="29"/>
                  </a:lnTo>
                  <a:lnTo>
                    <a:pt x="774" y="33"/>
                  </a:lnTo>
                  <a:lnTo>
                    <a:pt x="787" y="37"/>
                  </a:lnTo>
                  <a:lnTo>
                    <a:pt x="800" y="46"/>
                  </a:lnTo>
                  <a:lnTo>
                    <a:pt x="842" y="27"/>
                  </a:lnTo>
                  <a:lnTo>
                    <a:pt x="890" y="14"/>
                  </a:lnTo>
                  <a:lnTo>
                    <a:pt x="938" y="6"/>
                  </a:lnTo>
                  <a:lnTo>
                    <a:pt x="987" y="1"/>
                  </a:lnTo>
                  <a:lnTo>
                    <a:pt x="1035" y="0"/>
                  </a:lnTo>
                  <a:lnTo>
                    <a:pt x="1084" y="7"/>
                  </a:lnTo>
                  <a:lnTo>
                    <a:pt x="1130" y="20"/>
                  </a:lnTo>
                  <a:lnTo>
                    <a:pt x="1175" y="43"/>
                  </a:lnTo>
                  <a:lnTo>
                    <a:pt x="1230" y="52"/>
                  </a:lnTo>
                  <a:close/>
                </a:path>
              </a:pathLst>
            </a:custGeom>
            <a:solidFill>
              <a:srgbClr val="FFBABC"/>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83" name="Freeform 39"/>
            <p:cNvSpPr>
              <a:spLocks/>
            </p:cNvSpPr>
            <p:nvPr/>
          </p:nvSpPr>
          <p:spPr bwMode="auto">
            <a:xfrm>
              <a:off x="2630" y="2021"/>
              <a:ext cx="410" cy="91"/>
            </a:xfrm>
            <a:custGeom>
              <a:avLst/>
              <a:gdLst/>
              <a:ahLst/>
              <a:cxnLst>
                <a:cxn ang="0">
                  <a:pos x="1203" y="82"/>
                </a:cxn>
                <a:cxn ang="0">
                  <a:pos x="1207" y="130"/>
                </a:cxn>
                <a:cxn ang="0">
                  <a:pos x="1195" y="152"/>
                </a:cxn>
                <a:cxn ang="0">
                  <a:pos x="1169" y="165"/>
                </a:cxn>
                <a:cxn ang="0">
                  <a:pos x="1132" y="192"/>
                </a:cxn>
                <a:cxn ang="0">
                  <a:pos x="1052" y="188"/>
                </a:cxn>
                <a:cxn ang="0">
                  <a:pos x="987" y="166"/>
                </a:cxn>
                <a:cxn ang="0">
                  <a:pos x="919" y="146"/>
                </a:cxn>
                <a:cxn ang="0">
                  <a:pos x="839" y="147"/>
                </a:cxn>
                <a:cxn ang="0">
                  <a:pos x="730" y="175"/>
                </a:cxn>
                <a:cxn ang="0">
                  <a:pos x="614" y="230"/>
                </a:cxn>
                <a:cxn ang="0">
                  <a:pos x="499" y="269"/>
                </a:cxn>
                <a:cxn ang="0">
                  <a:pos x="398" y="257"/>
                </a:cxn>
                <a:cxn ang="0">
                  <a:pos x="329" y="238"/>
                </a:cxn>
                <a:cxn ang="0">
                  <a:pos x="272" y="215"/>
                </a:cxn>
                <a:cxn ang="0">
                  <a:pos x="217" y="185"/>
                </a:cxn>
                <a:cxn ang="0">
                  <a:pos x="158" y="149"/>
                </a:cxn>
                <a:cxn ang="0">
                  <a:pos x="122" y="131"/>
                </a:cxn>
                <a:cxn ang="0">
                  <a:pos x="75" y="121"/>
                </a:cxn>
                <a:cxn ang="0">
                  <a:pos x="31" y="107"/>
                </a:cxn>
                <a:cxn ang="0">
                  <a:pos x="0" y="85"/>
                </a:cxn>
                <a:cxn ang="0">
                  <a:pos x="44" y="66"/>
                </a:cxn>
                <a:cxn ang="0">
                  <a:pos x="104" y="68"/>
                </a:cxn>
                <a:cxn ang="0">
                  <a:pos x="167" y="72"/>
                </a:cxn>
                <a:cxn ang="0">
                  <a:pos x="227" y="72"/>
                </a:cxn>
                <a:cxn ang="0">
                  <a:pos x="310" y="56"/>
                </a:cxn>
                <a:cxn ang="0">
                  <a:pos x="415" y="36"/>
                </a:cxn>
                <a:cxn ang="0">
                  <a:pos x="524" y="19"/>
                </a:cxn>
                <a:cxn ang="0">
                  <a:pos x="635" y="10"/>
                </a:cxn>
                <a:cxn ang="0">
                  <a:pos x="706" y="16"/>
                </a:cxn>
                <a:cxn ang="0">
                  <a:pos x="732" y="21"/>
                </a:cxn>
                <a:cxn ang="0">
                  <a:pos x="760" y="29"/>
                </a:cxn>
                <a:cxn ang="0">
                  <a:pos x="787" y="37"/>
                </a:cxn>
                <a:cxn ang="0">
                  <a:pos x="842" y="27"/>
                </a:cxn>
                <a:cxn ang="0">
                  <a:pos x="938" y="6"/>
                </a:cxn>
                <a:cxn ang="0">
                  <a:pos x="1035" y="0"/>
                </a:cxn>
                <a:cxn ang="0">
                  <a:pos x="1130" y="20"/>
                </a:cxn>
                <a:cxn ang="0">
                  <a:pos x="1230" y="52"/>
                </a:cxn>
              </a:cxnLst>
              <a:rect l="0" t="0" r="r" b="b"/>
              <a:pathLst>
                <a:path w="1230" h="272">
                  <a:moveTo>
                    <a:pt x="1230" y="52"/>
                  </a:moveTo>
                  <a:lnTo>
                    <a:pt x="1203" y="82"/>
                  </a:lnTo>
                  <a:lnTo>
                    <a:pt x="1207" y="110"/>
                  </a:lnTo>
                  <a:lnTo>
                    <a:pt x="1207" y="130"/>
                  </a:lnTo>
                  <a:lnTo>
                    <a:pt x="1203" y="141"/>
                  </a:lnTo>
                  <a:lnTo>
                    <a:pt x="1195" y="152"/>
                  </a:lnTo>
                  <a:lnTo>
                    <a:pt x="1184" y="157"/>
                  </a:lnTo>
                  <a:lnTo>
                    <a:pt x="1169" y="165"/>
                  </a:lnTo>
                  <a:lnTo>
                    <a:pt x="1152" y="175"/>
                  </a:lnTo>
                  <a:lnTo>
                    <a:pt x="1132" y="192"/>
                  </a:lnTo>
                  <a:lnTo>
                    <a:pt x="1088" y="192"/>
                  </a:lnTo>
                  <a:lnTo>
                    <a:pt x="1052" y="188"/>
                  </a:lnTo>
                  <a:lnTo>
                    <a:pt x="1017" y="176"/>
                  </a:lnTo>
                  <a:lnTo>
                    <a:pt x="987" y="166"/>
                  </a:lnTo>
                  <a:lnTo>
                    <a:pt x="954" y="153"/>
                  </a:lnTo>
                  <a:lnTo>
                    <a:pt x="919" y="146"/>
                  </a:lnTo>
                  <a:lnTo>
                    <a:pt x="881" y="141"/>
                  </a:lnTo>
                  <a:lnTo>
                    <a:pt x="839" y="147"/>
                  </a:lnTo>
                  <a:lnTo>
                    <a:pt x="786" y="155"/>
                  </a:lnTo>
                  <a:lnTo>
                    <a:pt x="730" y="175"/>
                  </a:lnTo>
                  <a:lnTo>
                    <a:pt x="672" y="201"/>
                  </a:lnTo>
                  <a:lnTo>
                    <a:pt x="614" y="230"/>
                  </a:lnTo>
                  <a:lnTo>
                    <a:pt x="554" y="253"/>
                  </a:lnTo>
                  <a:lnTo>
                    <a:pt x="499" y="269"/>
                  </a:lnTo>
                  <a:lnTo>
                    <a:pt x="446" y="272"/>
                  </a:lnTo>
                  <a:lnTo>
                    <a:pt x="398" y="257"/>
                  </a:lnTo>
                  <a:lnTo>
                    <a:pt x="360" y="247"/>
                  </a:lnTo>
                  <a:lnTo>
                    <a:pt x="329" y="238"/>
                  </a:lnTo>
                  <a:lnTo>
                    <a:pt x="298" y="227"/>
                  </a:lnTo>
                  <a:lnTo>
                    <a:pt x="272" y="215"/>
                  </a:lnTo>
                  <a:lnTo>
                    <a:pt x="245" y="201"/>
                  </a:lnTo>
                  <a:lnTo>
                    <a:pt x="217" y="185"/>
                  </a:lnTo>
                  <a:lnTo>
                    <a:pt x="188" y="168"/>
                  </a:lnTo>
                  <a:lnTo>
                    <a:pt x="158" y="149"/>
                  </a:lnTo>
                  <a:lnTo>
                    <a:pt x="142" y="139"/>
                  </a:lnTo>
                  <a:lnTo>
                    <a:pt x="122" y="131"/>
                  </a:lnTo>
                  <a:lnTo>
                    <a:pt x="99" y="126"/>
                  </a:lnTo>
                  <a:lnTo>
                    <a:pt x="75" y="121"/>
                  </a:lnTo>
                  <a:lnTo>
                    <a:pt x="51" y="114"/>
                  </a:lnTo>
                  <a:lnTo>
                    <a:pt x="31" y="107"/>
                  </a:lnTo>
                  <a:lnTo>
                    <a:pt x="12" y="98"/>
                  </a:lnTo>
                  <a:lnTo>
                    <a:pt x="0" y="85"/>
                  </a:lnTo>
                  <a:lnTo>
                    <a:pt x="15" y="71"/>
                  </a:lnTo>
                  <a:lnTo>
                    <a:pt x="44" y="66"/>
                  </a:lnTo>
                  <a:lnTo>
                    <a:pt x="74" y="66"/>
                  </a:lnTo>
                  <a:lnTo>
                    <a:pt x="104" y="68"/>
                  </a:lnTo>
                  <a:lnTo>
                    <a:pt x="136" y="71"/>
                  </a:lnTo>
                  <a:lnTo>
                    <a:pt x="167" y="72"/>
                  </a:lnTo>
                  <a:lnTo>
                    <a:pt x="197" y="74"/>
                  </a:lnTo>
                  <a:lnTo>
                    <a:pt x="227" y="72"/>
                  </a:lnTo>
                  <a:lnTo>
                    <a:pt x="258" y="68"/>
                  </a:lnTo>
                  <a:lnTo>
                    <a:pt x="310" y="56"/>
                  </a:lnTo>
                  <a:lnTo>
                    <a:pt x="363" y="46"/>
                  </a:lnTo>
                  <a:lnTo>
                    <a:pt x="415" y="36"/>
                  </a:lnTo>
                  <a:lnTo>
                    <a:pt x="470" y="27"/>
                  </a:lnTo>
                  <a:lnTo>
                    <a:pt x="524" y="19"/>
                  </a:lnTo>
                  <a:lnTo>
                    <a:pt x="579" y="13"/>
                  </a:lnTo>
                  <a:lnTo>
                    <a:pt x="635" y="10"/>
                  </a:lnTo>
                  <a:lnTo>
                    <a:pt x="693" y="13"/>
                  </a:lnTo>
                  <a:lnTo>
                    <a:pt x="706" y="16"/>
                  </a:lnTo>
                  <a:lnTo>
                    <a:pt x="719" y="19"/>
                  </a:lnTo>
                  <a:lnTo>
                    <a:pt x="732" y="21"/>
                  </a:lnTo>
                  <a:lnTo>
                    <a:pt x="747" y="26"/>
                  </a:lnTo>
                  <a:lnTo>
                    <a:pt x="760" y="29"/>
                  </a:lnTo>
                  <a:lnTo>
                    <a:pt x="774" y="33"/>
                  </a:lnTo>
                  <a:lnTo>
                    <a:pt x="787" y="37"/>
                  </a:lnTo>
                  <a:lnTo>
                    <a:pt x="800" y="46"/>
                  </a:lnTo>
                  <a:lnTo>
                    <a:pt x="842" y="27"/>
                  </a:lnTo>
                  <a:lnTo>
                    <a:pt x="890" y="14"/>
                  </a:lnTo>
                  <a:lnTo>
                    <a:pt x="938" y="6"/>
                  </a:lnTo>
                  <a:lnTo>
                    <a:pt x="987" y="1"/>
                  </a:lnTo>
                  <a:lnTo>
                    <a:pt x="1035" y="0"/>
                  </a:lnTo>
                  <a:lnTo>
                    <a:pt x="1084" y="7"/>
                  </a:lnTo>
                  <a:lnTo>
                    <a:pt x="1130" y="20"/>
                  </a:lnTo>
                  <a:lnTo>
                    <a:pt x="1175" y="43"/>
                  </a:lnTo>
                  <a:lnTo>
                    <a:pt x="1230" y="52"/>
                  </a:lnTo>
                  <a:close/>
                </a:path>
              </a:pathLst>
            </a:custGeom>
            <a:solidFill>
              <a:srgbClr val="FFBCBE"/>
            </a:solidFill>
            <a:ln w="9525">
              <a:noFill/>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84" name="Freeform 40"/>
            <p:cNvSpPr>
              <a:spLocks/>
            </p:cNvSpPr>
            <p:nvPr/>
          </p:nvSpPr>
          <p:spPr bwMode="auto">
            <a:xfrm>
              <a:off x="2340" y="876"/>
              <a:ext cx="1013" cy="1012"/>
            </a:xfrm>
            <a:custGeom>
              <a:avLst/>
              <a:gdLst/>
              <a:ahLst/>
              <a:cxnLst>
                <a:cxn ang="0">
                  <a:pos x="1518" y="3036"/>
                </a:cxn>
                <a:cxn ang="0">
                  <a:pos x="1823" y="3004"/>
                </a:cxn>
                <a:cxn ang="0">
                  <a:pos x="2108" y="2916"/>
                </a:cxn>
                <a:cxn ang="0">
                  <a:pos x="2366" y="2775"/>
                </a:cxn>
                <a:cxn ang="0">
                  <a:pos x="2592" y="2590"/>
                </a:cxn>
                <a:cxn ang="0">
                  <a:pos x="2777" y="2364"/>
                </a:cxn>
                <a:cxn ang="0">
                  <a:pos x="2917" y="2107"/>
                </a:cxn>
                <a:cxn ang="0">
                  <a:pos x="3006" y="1822"/>
                </a:cxn>
                <a:cxn ang="0">
                  <a:pos x="3037" y="1518"/>
                </a:cxn>
                <a:cxn ang="0">
                  <a:pos x="3006" y="1212"/>
                </a:cxn>
                <a:cxn ang="0">
                  <a:pos x="2917" y="927"/>
                </a:cxn>
                <a:cxn ang="0">
                  <a:pos x="2777" y="668"/>
                </a:cxn>
                <a:cxn ang="0">
                  <a:pos x="2592" y="444"/>
                </a:cxn>
                <a:cxn ang="0">
                  <a:pos x="2366" y="257"/>
                </a:cxn>
                <a:cxn ang="0">
                  <a:pos x="2108" y="118"/>
                </a:cxn>
                <a:cxn ang="0">
                  <a:pos x="1823" y="30"/>
                </a:cxn>
                <a:cxn ang="0">
                  <a:pos x="1518" y="0"/>
                </a:cxn>
                <a:cxn ang="0">
                  <a:pos x="1211" y="30"/>
                </a:cxn>
                <a:cxn ang="0">
                  <a:pos x="926" y="118"/>
                </a:cxn>
                <a:cxn ang="0">
                  <a:pos x="668" y="257"/>
                </a:cxn>
                <a:cxn ang="0">
                  <a:pos x="444" y="444"/>
                </a:cxn>
                <a:cxn ang="0">
                  <a:pos x="257" y="668"/>
                </a:cxn>
                <a:cxn ang="0">
                  <a:pos x="119" y="927"/>
                </a:cxn>
                <a:cxn ang="0">
                  <a:pos x="30" y="1212"/>
                </a:cxn>
                <a:cxn ang="0">
                  <a:pos x="0" y="1518"/>
                </a:cxn>
                <a:cxn ang="0">
                  <a:pos x="30" y="1822"/>
                </a:cxn>
                <a:cxn ang="0">
                  <a:pos x="119" y="2107"/>
                </a:cxn>
                <a:cxn ang="0">
                  <a:pos x="257" y="2364"/>
                </a:cxn>
                <a:cxn ang="0">
                  <a:pos x="444" y="2590"/>
                </a:cxn>
                <a:cxn ang="0">
                  <a:pos x="668" y="2775"/>
                </a:cxn>
                <a:cxn ang="0">
                  <a:pos x="926" y="2916"/>
                </a:cxn>
                <a:cxn ang="0">
                  <a:pos x="1211" y="3004"/>
                </a:cxn>
                <a:cxn ang="0">
                  <a:pos x="1518" y="3036"/>
                </a:cxn>
              </a:cxnLst>
              <a:rect l="0" t="0" r="r" b="b"/>
              <a:pathLst>
                <a:path w="3037" h="3036">
                  <a:moveTo>
                    <a:pt x="1518" y="3036"/>
                  </a:moveTo>
                  <a:lnTo>
                    <a:pt x="1823" y="3004"/>
                  </a:lnTo>
                  <a:lnTo>
                    <a:pt x="2108" y="2916"/>
                  </a:lnTo>
                  <a:lnTo>
                    <a:pt x="2366" y="2775"/>
                  </a:lnTo>
                  <a:lnTo>
                    <a:pt x="2592" y="2590"/>
                  </a:lnTo>
                  <a:lnTo>
                    <a:pt x="2777" y="2364"/>
                  </a:lnTo>
                  <a:lnTo>
                    <a:pt x="2917" y="2107"/>
                  </a:lnTo>
                  <a:lnTo>
                    <a:pt x="3006" y="1822"/>
                  </a:lnTo>
                  <a:lnTo>
                    <a:pt x="3037" y="1518"/>
                  </a:lnTo>
                  <a:lnTo>
                    <a:pt x="3006" y="1212"/>
                  </a:lnTo>
                  <a:lnTo>
                    <a:pt x="2917" y="927"/>
                  </a:lnTo>
                  <a:lnTo>
                    <a:pt x="2777" y="668"/>
                  </a:lnTo>
                  <a:lnTo>
                    <a:pt x="2592" y="444"/>
                  </a:lnTo>
                  <a:lnTo>
                    <a:pt x="2366" y="257"/>
                  </a:lnTo>
                  <a:lnTo>
                    <a:pt x="2108" y="118"/>
                  </a:lnTo>
                  <a:lnTo>
                    <a:pt x="1823" y="30"/>
                  </a:lnTo>
                  <a:lnTo>
                    <a:pt x="1518" y="0"/>
                  </a:lnTo>
                  <a:lnTo>
                    <a:pt x="1211" y="30"/>
                  </a:lnTo>
                  <a:lnTo>
                    <a:pt x="926" y="118"/>
                  </a:lnTo>
                  <a:lnTo>
                    <a:pt x="668" y="257"/>
                  </a:lnTo>
                  <a:lnTo>
                    <a:pt x="444" y="444"/>
                  </a:lnTo>
                  <a:lnTo>
                    <a:pt x="257" y="668"/>
                  </a:lnTo>
                  <a:lnTo>
                    <a:pt x="119" y="927"/>
                  </a:lnTo>
                  <a:lnTo>
                    <a:pt x="30" y="1212"/>
                  </a:lnTo>
                  <a:lnTo>
                    <a:pt x="0" y="1518"/>
                  </a:lnTo>
                  <a:lnTo>
                    <a:pt x="30" y="1822"/>
                  </a:lnTo>
                  <a:lnTo>
                    <a:pt x="119" y="2107"/>
                  </a:lnTo>
                  <a:lnTo>
                    <a:pt x="257" y="2364"/>
                  </a:lnTo>
                  <a:lnTo>
                    <a:pt x="444" y="2590"/>
                  </a:lnTo>
                  <a:lnTo>
                    <a:pt x="668" y="2775"/>
                  </a:lnTo>
                  <a:lnTo>
                    <a:pt x="926" y="2916"/>
                  </a:lnTo>
                  <a:lnTo>
                    <a:pt x="1211" y="3004"/>
                  </a:lnTo>
                  <a:lnTo>
                    <a:pt x="1518" y="3036"/>
                  </a:lnTo>
                </a:path>
              </a:pathLst>
            </a:custGeom>
            <a:noFill/>
            <a:ln w="33338">
              <a:solidFill>
                <a:srgbClr val="FF1A00"/>
              </a:solidFill>
              <a:prstDash val="solid"/>
              <a:round/>
              <a:headEnd/>
              <a:tailEnd/>
            </a:ln>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grpSp>
      <p:sp>
        <p:nvSpPr>
          <p:cNvPr id="268292" name="Text Box 41"/>
          <p:cNvSpPr txBox="1">
            <a:spLocks noChangeArrowheads="1"/>
          </p:cNvSpPr>
          <p:nvPr/>
        </p:nvSpPr>
        <p:spPr bwMode="auto">
          <a:xfrm>
            <a:off x="2424113" y="3500438"/>
            <a:ext cx="2514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ctr" eaLnBrk="0" fontAlgn="base" hangingPunct="0">
              <a:spcBef>
                <a:spcPct val="0"/>
              </a:spcBef>
              <a:spcAft>
                <a:spcPct val="0"/>
              </a:spcAft>
            </a:pPr>
            <a:r>
              <a:rPr lang="ru-RU" altLang="ru-RU" sz="2400">
                <a:solidFill>
                  <a:srgbClr val="000000"/>
                </a:solidFill>
              </a:rPr>
              <a:t>Средний отит</a:t>
            </a:r>
            <a:endParaRPr lang="en-US" altLang="ru-RU" sz="2400">
              <a:solidFill>
                <a:srgbClr val="000000"/>
              </a:solidFill>
            </a:endParaRPr>
          </a:p>
        </p:txBody>
      </p:sp>
      <p:sp>
        <p:nvSpPr>
          <p:cNvPr id="268293" name="Text Box 42"/>
          <p:cNvSpPr txBox="1">
            <a:spLocks noChangeArrowheads="1"/>
          </p:cNvSpPr>
          <p:nvPr/>
        </p:nvSpPr>
        <p:spPr bwMode="auto">
          <a:xfrm>
            <a:off x="2198688" y="2205038"/>
            <a:ext cx="20701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ctr" eaLnBrk="0" fontAlgn="base" hangingPunct="0">
              <a:spcBef>
                <a:spcPct val="0"/>
              </a:spcBef>
              <a:spcAft>
                <a:spcPct val="0"/>
              </a:spcAft>
            </a:pPr>
            <a:r>
              <a:rPr lang="ru-RU" altLang="ru-RU" sz="2400">
                <a:solidFill>
                  <a:srgbClr val="000000"/>
                </a:solidFill>
              </a:rPr>
              <a:t>Бактериемия</a:t>
            </a:r>
            <a:endParaRPr lang="en-US" altLang="ru-RU" sz="2400">
              <a:solidFill>
                <a:srgbClr val="000000"/>
              </a:solidFill>
            </a:endParaRPr>
          </a:p>
        </p:txBody>
      </p:sp>
      <p:sp>
        <p:nvSpPr>
          <p:cNvPr id="268294" name="Text Box 43"/>
          <p:cNvSpPr txBox="1">
            <a:spLocks noChangeArrowheads="1"/>
          </p:cNvSpPr>
          <p:nvPr/>
        </p:nvSpPr>
        <p:spPr bwMode="auto">
          <a:xfrm>
            <a:off x="7383464" y="2276476"/>
            <a:ext cx="155098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ctr" eaLnBrk="0" fontAlgn="base" hangingPunct="0">
              <a:spcBef>
                <a:spcPct val="0"/>
              </a:spcBef>
              <a:spcAft>
                <a:spcPct val="0"/>
              </a:spcAft>
            </a:pPr>
            <a:r>
              <a:rPr lang="ru-RU" altLang="ru-RU" sz="2400">
                <a:solidFill>
                  <a:srgbClr val="000000"/>
                </a:solidFill>
              </a:rPr>
              <a:t>Менингит</a:t>
            </a:r>
            <a:endParaRPr lang="en-US" altLang="ru-RU" sz="2400">
              <a:solidFill>
                <a:srgbClr val="000000"/>
              </a:solidFill>
            </a:endParaRPr>
          </a:p>
        </p:txBody>
      </p:sp>
      <p:sp>
        <p:nvSpPr>
          <p:cNvPr id="268295" name="Text Box 44"/>
          <p:cNvSpPr txBox="1">
            <a:spLocks noChangeArrowheads="1"/>
          </p:cNvSpPr>
          <p:nvPr/>
        </p:nvSpPr>
        <p:spPr bwMode="auto">
          <a:xfrm>
            <a:off x="6881814" y="3500438"/>
            <a:ext cx="179863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ctr" eaLnBrk="0" fontAlgn="base" hangingPunct="0">
              <a:spcBef>
                <a:spcPct val="0"/>
              </a:spcBef>
              <a:spcAft>
                <a:spcPct val="0"/>
              </a:spcAft>
            </a:pPr>
            <a:r>
              <a:rPr lang="ru-RU" altLang="ru-RU" sz="2400">
                <a:solidFill>
                  <a:srgbClr val="000000"/>
                </a:solidFill>
              </a:rPr>
              <a:t>Пневмония</a:t>
            </a:r>
            <a:endParaRPr lang="en-US" altLang="ru-RU" sz="2400">
              <a:solidFill>
                <a:srgbClr val="000000"/>
              </a:solidFill>
            </a:endParaRPr>
          </a:p>
        </p:txBody>
      </p:sp>
      <p:sp>
        <p:nvSpPr>
          <p:cNvPr id="268296" name="Rectangle 45"/>
          <p:cNvSpPr>
            <a:spLocks noGrp="1" noChangeArrowheads="1"/>
          </p:cNvSpPr>
          <p:nvPr>
            <p:ph type="title"/>
          </p:nvPr>
        </p:nvSpPr>
        <p:spPr>
          <a:xfrm>
            <a:off x="0" y="0"/>
            <a:ext cx="12192000" cy="901700"/>
          </a:xfrm>
          <a:effectLst>
            <a:outerShdw dist="35921" dir="2700000" algn="ctr" rotWithShape="0">
              <a:srgbClr val="808080"/>
            </a:outerShdw>
          </a:effectLst>
        </p:spPr>
        <p:txBody>
          <a:bodyPr/>
          <a:lstStyle/>
          <a:p>
            <a:pPr eaLnBrk="1" hangingPunct="1"/>
            <a:r>
              <a:rPr lang="ru-RU" altLang="ru-RU" sz="3200" dirty="0">
                <a:solidFill>
                  <a:schemeClr val="tx1"/>
                </a:solidFill>
              </a:rPr>
              <a:t>Носительство</a:t>
            </a:r>
            <a:r>
              <a:rPr lang="ru-RU" altLang="ru-RU" sz="3200" i="1" dirty="0">
                <a:solidFill>
                  <a:schemeClr val="tx1"/>
                </a:solidFill>
              </a:rPr>
              <a:t> </a:t>
            </a:r>
            <a:r>
              <a:rPr lang="ru-RU" altLang="ru-RU" sz="3200" dirty="0">
                <a:solidFill>
                  <a:schemeClr val="tx1"/>
                </a:solidFill>
              </a:rPr>
              <a:t>в носоглотке</a:t>
            </a:r>
            <a:r>
              <a:rPr lang="en-US" altLang="ru-RU" sz="3200" dirty="0">
                <a:solidFill>
                  <a:schemeClr val="tx1"/>
                </a:solidFill>
              </a:rPr>
              <a:t> </a:t>
            </a:r>
            <a:r>
              <a:rPr lang="ru-RU" altLang="ru-RU" sz="3200" dirty="0" smtClean="0">
                <a:solidFill>
                  <a:schemeClr val="tx1"/>
                </a:solidFill>
              </a:rPr>
              <a:t>гемофильной </a:t>
            </a:r>
            <a:r>
              <a:rPr lang="ru-RU" altLang="ru-RU" sz="3200" dirty="0">
                <a:solidFill>
                  <a:schemeClr val="tx1"/>
                </a:solidFill>
              </a:rPr>
              <a:t>палочки</a:t>
            </a:r>
            <a:endParaRPr lang="en-US" altLang="ru-RU" sz="3200" dirty="0">
              <a:solidFill>
                <a:schemeClr val="tx1"/>
              </a:solidFill>
            </a:endParaRPr>
          </a:p>
        </p:txBody>
      </p:sp>
      <p:sp>
        <p:nvSpPr>
          <p:cNvPr id="268297" name="Rectangle 46"/>
          <p:cNvSpPr>
            <a:spLocks noChangeArrowheads="1"/>
          </p:cNvSpPr>
          <p:nvPr/>
        </p:nvSpPr>
        <p:spPr bwMode="auto">
          <a:xfrm>
            <a:off x="335360" y="4965611"/>
            <a:ext cx="1152128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90500" indent="-190500" algn="ctr" eaLnBrk="0" fontAlgn="base" hangingPunct="0">
              <a:spcBef>
                <a:spcPct val="0"/>
              </a:spcBef>
              <a:spcAft>
                <a:spcPct val="0"/>
              </a:spcAft>
              <a:buClr>
                <a:srgbClr val="333399"/>
              </a:buClr>
              <a:buFontTx/>
              <a:buChar char="•"/>
            </a:pPr>
            <a:r>
              <a:rPr lang="ru-RU" altLang="ru-RU" sz="2400" dirty="0">
                <a:solidFill>
                  <a:srgbClr val="000000"/>
                </a:solidFill>
              </a:rPr>
              <a:t>Носоглотка – естественная среда обитания для капсульных микроорганизмов</a:t>
            </a:r>
            <a:r>
              <a:rPr lang="en-US" altLang="ru-RU" sz="2400" dirty="0">
                <a:solidFill>
                  <a:srgbClr val="000000"/>
                </a:solidFill>
              </a:rPr>
              <a:t> </a:t>
            </a:r>
          </a:p>
          <a:p>
            <a:pPr marL="190500" indent="-190500" algn="ctr" eaLnBrk="0" fontAlgn="base" hangingPunct="0">
              <a:spcBef>
                <a:spcPct val="0"/>
              </a:spcBef>
              <a:spcAft>
                <a:spcPct val="0"/>
              </a:spcAft>
              <a:buClr>
                <a:srgbClr val="333399"/>
              </a:buClr>
              <a:buFontTx/>
              <a:buChar char="•"/>
            </a:pPr>
            <a:endParaRPr lang="en-US" altLang="ru-RU" sz="2400" dirty="0">
              <a:solidFill>
                <a:srgbClr val="000000"/>
              </a:solidFill>
            </a:endParaRPr>
          </a:p>
          <a:p>
            <a:pPr marL="190500" indent="-190500" algn="ctr" eaLnBrk="0" fontAlgn="base" hangingPunct="0">
              <a:spcBef>
                <a:spcPct val="0"/>
              </a:spcBef>
              <a:spcAft>
                <a:spcPct val="0"/>
              </a:spcAft>
              <a:buClr>
                <a:srgbClr val="333399"/>
              </a:buClr>
              <a:buFontTx/>
              <a:buChar char="•"/>
            </a:pPr>
            <a:r>
              <a:rPr lang="ru-RU" altLang="ru-RU" sz="2400" dirty="0">
                <a:solidFill>
                  <a:srgbClr val="000000"/>
                </a:solidFill>
              </a:rPr>
              <a:t>Носительство - бессимптомно</a:t>
            </a:r>
            <a:endParaRPr lang="en-GB" altLang="ru-RU" sz="2400" dirty="0">
              <a:solidFill>
                <a:srgbClr val="000000"/>
              </a:solidFill>
            </a:endParaRPr>
          </a:p>
        </p:txBody>
      </p:sp>
      <p:pic>
        <p:nvPicPr>
          <p:cNvPr id="268298" name="Picture 47" descr="MCHM00386_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59825" y="3068638"/>
            <a:ext cx="1219200"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299" name="Picture 48" descr="MCj0339222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8888" y="1268413"/>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300" name="Picture 49" descr="MCHM00379_00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03388" y="2997200"/>
            <a:ext cx="83185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301" name="Picture 50" descr="MCHM00245_0000[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24000" y="1052513"/>
            <a:ext cx="7747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95" name="Line 51"/>
          <p:cNvSpPr>
            <a:spLocks noChangeShapeType="1"/>
          </p:cNvSpPr>
          <p:nvPr/>
        </p:nvSpPr>
        <p:spPr bwMode="auto">
          <a:xfrm flipH="1">
            <a:off x="3359150" y="1412875"/>
            <a:ext cx="1066800" cy="533400"/>
          </a:xfrm>
          <a:prstGeom prst="line">
            <a:avLst/>
          </a:prstGeom>
          <a:noFill/>
          <a:ln w="9525">
            <a:solidFill>
              <a:schemeClr val="tx1"/>
            </a:solidFill>
            <a:round/>
            <a:headEnd/>
            <a:tailEnd type="triangle" w="med" len="med"/>
          </a:ln>
          <a:effectLst/>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97" name="Line 53"/>
          <p:cNvSpPr>
            <a:spLocks noChangeShapeType="1"/>
          </p:cNvSpPr>
          <p:nvPr/>
        </p:nvSpPr>
        <p:spPr bwMode="auto">
          <a:xfrm>
            <a:off x="6672263" y="1700213"/>
            <a:ext cx="685800" cy="381000"/>
          </a:xfrm>
          <a:prstGeom prst="line">
            <a:avLst/>
          </a:prstGeom>
          <a:noFill/>
          <a:ln w="9525">
            <a:solidFill>
              <a:schemeClr val="tx1"/>
            </a:solidFill>
            <a:round/>
            <a:headEnd/>
            <a:tailEnd type="triangle" w="med" len="med"/>
          </a:ln>
          <a:effectLst/>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98" name="Line 54"/>
          <p:cNvSpPr>
            <a:spLocks noChangeShapeType="1"/>
          </p:cNvSpPr>
          <p:nvPr/>
        </p:nvSpPr>
        <p:spPr bwMode="auto">
          <a:xfrm>
            <a:off x="6527800" y="2997200"/>
            <a:ext cx="762000" cy="304800"/>
          </a:xfrm>
          <a:prstGeom prst="line">
            <a:avLst/>
          </a:prstGeom>
          <a:noFill/>
          <a:ln w="9525">
            <a:solidFill>
              <a:schemeClr val="tx1"/>
            </a:solidFill>
            <a:round/>
            <a:headEnd/>
            <a:tailEnd type="triangle" w="med" len="med"/>
          </a:ln>
          <a:effectLst/>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
        <p:nvSpPr>
          <p:cNvPr id="57399" name="Line 55"/>
          <p:cNvSpPr>
            <a:spLocks noChangeShapeType="1"/>
          </p:cNvSpPr>
          <p:nvPr/>
        </p:nvSpPr>
        <p:spPr bwMode="auto">
          <a:xfrm flipH="1">
            <a:off x="3863976" y="2636838"/>
            <a:ext cx="792163" cy="647700"/>
          </a:xfrm>
          <a:prstGeom prst="line">
            <a:avLst/>
          </a:prstGeom>
          <a:noFill/>
          <a:ln w="9525">
            <a:solidFill>
              <a:schemeClr val="tx1"/>
            </a:solidFill>
            <a:round/>
            <a:headEnd/>
            <a:tailEnd type="triangle" w="med" len="med"/>
          </a:ln>
          <a:effectLst/>
        </p:spPr>
        <p:txBody>
          <a:bodyPr/>
          <a:lstStyle/>
          <a:p>
            <a:pPr fontAlgn="base">
              <a:spcBef>
                <a:spcPct val="0"/>
              </a:spcBef>
              <a:spcAft>
                <a:spcPct val="0"/>
              </a:spcAft>
              <a:defRPr/>
            </a:pPr>
            <a:endParaRPr lang="ru-RU" sz="2000">
              <a:solidFill>
                <a:srgbClr val="0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402537245"/>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3170" name="Object 2"/>
          <p:cNvGraphicFramePr>
            <a:graphicFrameLocks noChangeAspect="1"/>
          </p:cNvGraphicFramePr>
          <p:nvPr>
            <p:custDataLst>
              <p:tags r:id="rId2"/>
            </p:custDataLst>
          </p:nvPr>
        </p:nvGraphicFramePr>
        <p:xfrm>
          <a:off x="1525589" y="1589"/>
          <a:ext cx="3175" cy="1587"/>
        </p:xfrm>
        <a:graphic>
          <a:graphicData uri="http://schemas.openxmlformats.org/presentationml/2006/ole">
            <mc:AlternateContent xmlns:mc="http://schemas.openxmlformats.org/markup-compatibility/2006">
              <mc:Choice xmlns:v="urn:schemas-microsoft-com:vml" Requires="v">
                <p:oleObj spid="_x0000_s30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3171" name="Title 7"/>
          <p:cNvSpPr>
            <a:spLocks noGrp="1"/>
          </p:cNvSpPr>
          <p:nvPr>
            <p:ph type="ctrTitle"/>
          </p:nvPr>
        </p:nvSpPr>
        <p:spPr>
          <a:xfrm>
            <a:off x="263353" y="2952751"/>
            <a:ext cx="11665296" cy="1323975"/>
          </a:xfrm>
        </p:spPr>
        <p:txBody>
          <a:bodyPr/>
          <a:lstStyle/>
          <a:p>
            <a:r>
              <a:rPr lang="ru-RU" altLang="ru-RU" b="1" dirty="0" smtClean="0"/>
              <a:t>Менингококковая инфекция и возможности ее вакцинопрофилактики</a:t>
            </a:r>
            <a:endParaRPr lang="en-US" altLang="ru-RU" b="1" dirty="0" smtClean="0"/>
          </a:p>
        </p:txBody>
      </p:sp>
      <p:pic>
        <p:nvPicPr>
          <p:cNvPr id="6" name="Picture 5" descr="File:Charlotte Cleverley-Bisman.jpg">
            <a:hlinkClick r:id="rId7"/>
          </p:cNvPr>
          <p:cNvPicPr>
            <a:picLocks noChangeAspect="1" noChangeArrowheads="1"/>
          </p:cNvPicPr>
          <p:nvPr/>
        </p:nvPicPr>
        <p:blipFill>
          <a:blip r:embed="rId8"/>
          <a:srcRect/>
          <a:stretch>
            <a:fillRect/>
          </a:stretch>
        </p:blipFill>
        <p:spPr bwMode="auto">
          <a:xfrm>
            <a:off x="8544272" y="217516"/>
            <a:ext cx="2379663" cy="2533650"/>
          </a:xfrm>
          <a:prstGeom prst="rect">
            <a:avLst/>
          </a:prstGeom>
          <a:noFill/>
          <a:ln w="57150">
            <a:solidFill>
              <a:schemeClr val="accent1"/>
            </a:solidFill>
            <a:miter lim="800000"/>
            <a:headEnd/>
            <a:tailEnd/>
          </a:ln>
          <a:effectLst>
            <a:outerShdw blurRad="50800" dist="38100" dir="2700000" algn="tl" rotWithShape="0">
              <a:prstClr val="black">
                <a:alpha val="40000"/>
              </a:prstClr>
            </a:outerShdw>
          </a:effectLst>
        </p:spPr>
      </p:pic>
      <p:sp>
        <p:nvSpPr>
          <p:cNvPr id="263173" name="Rectangle 6"/>
          <p:cNvSpPr>
            <a:spLocks noChangeArrowheads="1"/>
          </p:cNvSpPr>
          <p:nvPr/>
        </p:nvSpPr>
        <p:spPr bwMode="auto">
          <a:xfrm>
            <a:off x="1524000" y="6640513"/>
            <a:ext cx="32400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altLang="ru-RU" sz="800">
                <a:solidFill>
                  <a:srgbClr val="000000"/>
                </a:solidFill>
              </a:rPr>
              <a:t>Фото публикуется с разрешения</a:t>
            </a:r>
            <a:r>
              <a:rPr lang="en-US" altLang="ru-RU" sz="800">
                <a:solidFill>
                  <a:srgbClr val="000000"/>
                </a:solidFill>
              </a:rPr>
              <a:t>: CharlotteCleverleyBisman.com </a:t>
            </a:r>
          </a:p>
        </p:txBody>
      </p:sp>
      <p:pic>
        <p:nvPicPr>
          <p:cNvPr id="263174"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9376" y="490571"/>
            <a:ext cx="3292475" cy="187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3175" name="Прямоугольник 2"/>
          <p:cNvSpPr>
            <a:spLocks noChangeArrowheads="1"/>
          </p:cNvSpPr>
          <p:nvPr/>
        </p:nvSpPr>
        <p:spPr bwMode="auto">
          <a:xfrm>
            <a:off x="479376" y="4672647"/>
            <a:ext cx="1116124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fontAlgn="base">
              <a:spcBef>
                <a:spcPct val="0"/>
              </a:spcBef>
              <a:spcAft>
                <a:spcPct val="0"/>
              </a:spcAft>
            </a:pPr>
            <a:r>
              <a:rPr lang="ru-RU" altLang="ru-RU" sz="2000" b="1" dirty="0">
                <a:solidFill>
                  <a:srgbClr val="C00000"/>
                </a:solidFill>
              </a:rPr>
              <a:t>По данным ВОЗ ежегодно регистрируется 500000 случаев заболеваний </a:t>
            </a:r>
            <a:r>
              <a:rPr lang="ru-RU" altLang="ru-RU" sz="2000" b="1" dirty="0" err="1">
                <a:solidFill>
                  <a:srgbClr val="C00000"/>
                </a:solidFill>
              </a:rPr>
              <a:t>генерализованными</a:t>
            </a:r>
            <a:r>
              <a:rPr lang="ru-RU" altLang="ru-RU" sz="2000" b="1" dirty="0">
                <a:solidFill>
                  <a:srgbClr val="C00000"/>
                </a:solidFill>
              </a:rPr>
              <a:t> формами менингококковой инфекции, из которых </a:t>
            </a:r>
            <a:r>
              <a:rPr lang="ru-RU" altLang="ru-RU" sz="2000" b="1" dirty="0" smtClean="0">
                <a:solidFill>
                  <a:srgbClr val="C00000"/>
                </a:solidFill>
              </a:rPr>
              <a:t/>
            </a:r>
            <a:br>
              <a:rPr lang="ru-RU" altLang="ru-RU" sz="2000" b="1" dirty="0" smtClean="0">
                <a:solidFill>
                  <a:srgbClr val="C00000"/>
                </a:solidFill>
              </a:rPr>
            </a:br>
            <a:r>
              <a:rPr lang="ru-RU" altLang="ru-RU" sz="2000" b="1" dirty="0" smtClean="0">
                <a:solidFill>
                  <a:srgbClr val="C00000"/>
                </a:solidFill>
              </a:rPr>
              <a:t>50000 </a:t>
            </a:r>
            <a:r>
              <a:rPr lang="ru-RU" altLang="ru-RU" sz="2000" b="1" dirty="0">
                <a:solidFill>
                  <a:srgbClr val="C00000"/>
                </a:solidFill>
              </a:rPr>
              <a:t>заканчивается летально. Среди возможных осложнений выделяют – потерю слуха, потерю конечностей и снижение интеллекта</a:t>
            </a:r>
          </a:p>
        </p:txBody>
      </p:sp>
      <p:pic>
        <p:nvPicPr>
          <p:cNvPr id="263176" name="Picture 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56790" y="276274"/>
            <a:ext cx="3178175" cy="216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16290360"/>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Title 1"/>
          <p:cNvSpPr>
            <a:spLocks noGrp="1"/>
          </p:cNvSpPr>
          <p:nvPr>
            <p:ph type="title"/>
          </p:nvPr>
        </p:nvSpPr>
        <p:spPr/>
        <p:txBody>
          <a:bodyPr/>
          <a:lstStyle/>
          <a:p>
            <a:r>
              <a:rPr lang="ru-RU" altLang="ru-RU" sz="3600" b="1" dirty="0">
                <a:solidFill>
                  <a:schemeClr val="tx1"/>
                </a:solidFill>
              </a:rPr>
              <a:t>Эпидемиология МИ</a:t>
            </a:r>
            <a:endParaRPr lang="en-US" altLang="ru-RU" sz="3600" b="1" dirty="0">
              <a:solidFill>
                <a:schemeClr val="tx1"/>
              </a:solidFill>
            </a:endParaRPr>
          </a:p>
        </p:txBody>
      </p:sp>
      <p:sp>
        <p:nvSpPr>
          <p:cNvPr id="3" name="Content Placeholder 2"/>
          <p:cNvSpPr>
            <a:spLocks noGrp="1"/>
          </p:cNvSpPr>
          <p:nvPr>
            <p:ph idx="1"/>
          </p:nvPr>
        </p:nvSpPr>
        <p:spPr>
          <a:xfrm>
            <a:off x="371364" y="1425345"/>
            <a:ext cx="11449272" cy="3538538"/>
          </a:xfrm>
        </p:spPr>
        <p:txBody>
          <a:bodyPr/>
          <a:lstStyle/>
          <a:p>
            <a:pPr>
              <a:buFont typeface="Wingdings" pitchFamily="2" charset="2"/>
              <a:buChar char="q"/>
              <a:defRPr/>
            </a:pPr>
            <a:r>
              <a:rPr lang="ru-RU" sz="2400" b="1" dirty="0">
                <a:solidFill>
                  <a:srgbClr val="FF0000"/>
                </a:solidFill>
              </a:rPr>
              <a:t>МИ присуща периодичность с интервалом между отдельными подъемами </a:t>
            </a:r>
            <a:r>
              <a:rPr lang="ru-RU" sz="2400" b="1" dirty="0" smtClean="0">
                <a:solidFill>
                  <a:srgbClr val="FF0000"/>
                </a:solidFill>
              </a:rPr>
              <a:t>8-10 лет</a:t>
            </a:r>
            <a:endParaRPr lang="ru-RU" sz="2400" b="1" dirty="0">
              <a:solidFill>
                <a:srgbClr val="FF0000"/>
              </a:solidFill>
            </a:endParaRPr>
          </a:p>
          <a:p>
            <a:pPr>
              <a:buFont typeface="Wingdings" pitchFamily="2" charset="2"/>
              <a:buChar char="q"/>
              <a:defRPr/>
            </a:pPr>
            <a:r>
              <a:rPr lang="ru-RU" sz="2400" dirty="0">
                <a:solidFill>
                  <a:schemeClr val="accent1">
                    <a:lumMod val="50000"/>
                  </a:schemeClr>
                </a:solidFill>
              </a:rPr>
              <a:t>Определена сезонность заболеваемости с пиком в зимне-весенний период (как правило, совпадает с эпидемическим подъемом ОРВИ, гриппа). </a:t>
            </a:r>
          </a:p>
          <a:p>
            <a:pPr>
              <a:buFont typeface="Wingdings" pitchFamily="2" charset="2"/>
              <a:buChar char="q"/>
              <a:defRPr/>
            </a:pPr>
            <a:r>
              <a:rPr lang="ru-RU" sz="2400" dirty="0">
                <a:solidFill>
                  <a:schemeClr val="accent1">
                    <a:lumMod val="50000"/>
                  </a:schemeClr>
                </a:solidFill>
              </a:rPr>
              <a:t>Заболевают преимущественно дети (до </a:t>
            </a:r>
            <a:r>
              <a:rPr lang="ru-RU" sz="2400" dirty="0" smtClean="0">
                <a:solidFill>
                  <a:schemeClr val="accent1">
                    <a:lumMod val="50000"/>
                  </a:schemeClr>
                </a:solidFill>
              </a:rPr>
              <a:t>70 - 80%), </a:t>
            </a:r>
            <a:r>
              <a:rPr lang="ru-RU" sz="2400" dirty="0">
                <a:solidFill>
                  <a:schemeClr val="accent1">
                    <a:lumMod val="50000"/>
                  </a:schemeClr>
                </a:solidFill>
              </a:rPr>
              <a:t>а также лица молодого возраста, чаще в закрытых коллективах. </a:t>
            </a:r>
          </a:p>
          <a:p>
            <a:pPr>
              <a:buFont typeface="Wingdings" pitchFamily="2" charset="2"/>
              <a:buChar char="q"/>
              <a:defRPr/>
            </a:pPr>
            <a:r>
              <a:rPr lang="ru-RU" sz="2400" dirty="0">
                <a:solidFill>
                  <a:schemeClr val="accent1">
                    <a:lumMod val="50000"/>
                  </a:schemeClr>
                </a:solidFill>
              </a:rPr>
              <a:t>Наиболее угрожаемый возраст по развитию </a:t>
            </a:r>
            <a:r>
              <a:rPr lang="ru-RU" sz="2400" dirty="0" err="1">
                <a:solidFill>
                  <a:schemeClr val="accent1">
                    <a:lumMod val="50000"/>
                  </a:schemeClr>
                </a:solidFill>
              </a:rPr>
              <a:t>гипертоксических</a:t>
            </a:r>
            <a:r>
              <a:rPr lang="ru-RU" sz="2400" dirty="0">
                <a:solidFill>
                  <a:schemeClr val="accent1">
                    <a:lumMod val="50000"/>
                  </a:schemeClr>
                </a:solidFill>
              </a:rPr>
              <a:t> (сверхострых) форм инфекции - дети первых 3-х лет, особенно первого года жизни.</a:t>
            </a:r>
          </a:p>
          <a:p>
            <a:pPr>
              <a:buFont typeface="Wingdings" pitchFamily="2" charset="2"/>
              <a:buChar char="q"/>
              <a:defRPr/>
            </a:pPr>
            <a:r>
              <a:rPr lang="ru-RU" sz="2400" b="1" dirty="0">
                <a:solidFill>
                  <a:srgbClr val="FF0000"/>
                </a:solidFill>
                <a:latin typeface="Trebuchet MS" pitchFamily="34" charset="0"/>
              </a:rPr>
              <a:t>Первичная </a:t>
            </a:r>
            <a:r>
              <a:rPr lang="ru-RU" sz="2400" b="1" dirty="0">
                <a:solidFill>
                  <a:srgbClr val="FF0000"/>
                </a:solidFill>
                <a:latin typeface="Trebuchet MS" pitchFamily="34" charset="0"/>
              </a:rPr>
              <a:t>профилактика (вакцинация) </a:t>
            </a:r>
            <a:r>
              <a:rPr lang="ru-RU" sz="2400" b="1" dirty="0">
                <a:solidFill>
                  <a:srgbClr val="FF0000"/>
                </a:solidFill>
                <a:latin typeface="Trebuchet MS" pitchFamily="34" charset="0"/>
              </a:rPr>
              <a:t>предотвращает развитие инфекции еще до ее начала</a:t>
            </a:r>
            <a:r>
              <a:rPr lang="en-US" sz="2400" b="1" baseline="30000" dirty="0">
                <a:solidFill>
                  <a:srgbClr val="FF0000"/>
                </a:solidFill>
                <a:latin typeface="Trebuchet MS" pitchFamily="34" charset="0"/>
              </a:rPr>
              <a:t>1</a:t>
            </a:r>
            <a:endParaRPr lang="ru-RU" sz="2400" b="1" dirty="0">
              <a:solidFill>
                <a:schemeClr val="accent1">
                  <a:lumMod val="50000"/>
                </a:schemeClr>
              </a:solidFill>
            </a:endParaRPr>
          </a:p>
        </p:txBody>
      </p:sp>
    </p:spTree>
    <p:extLst>
      <p:ext uri="{BB962C8B-B14F-4D97-AF65-F5344CB8AC3E}">
        <p14:creationId xmlns:p14="http://schemas.microsoft.com/office/powerpoint/2010/main" val="18032294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Text Box 9"/>
          <p:cNvSpPr txBox="1">
            <a:spLocks noChangeArrowheads="1"/>
          </p:cNvSpPr>
          <p:nvPr/>
        </p:nvSpPr>
        <p:spPr bwMode="auto">
          <a:xfrm>
            <a:off x="8781572" y="1506538"/>
            <a:ext cx="21748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ctr" eaLnBrk="0" fontAlgn="base" hangingPunct="0">
              <a:spcBef>
                <a:spcPct val="0"/>
              </a:spcBef>
              <a:spcAft>
                <a:spcPct val="0"/>
              </a:spcAft>
            </a:pPr>
            <a:r>
              <a:rPr lang="ru-RU" altLang="fr-FR" sz="1200" b="1" dirty="0">
                <a:solidFill>
                  <a:srgbClr val="1B3651"/>
                </a:solidFill>
                <a:latin typeface="Tahoma" pitchFamily="34" charset="0"/>
                <a:cs typeface="Tahoma" pitchFamily="34" charset="0"/>
              </a:rPr>
              <a:t>У лиц </a:t>
            </a:r>
            <a:endParaRPr lang="en-US" altLang="fr-FR" sz="1200" b="1" dirty="0">
              <a:solidFill>
                <a:srgbClr val="1B3651"/>
              </a:solidFill>
              <a:latin typeface="Tahoma" pitchFamily="34" charset="0"/>
              <a:cs typeface="Tahoma" pitchFamily="34" charset="0"/>
            </a:endParaRPr>
          </a:p>
          <a:p>
            <a:pPr algn="ctr" eaLnBrk="0" fontAlgn="base" hangingPunct="0">
              <a:spcBef>
                <a:spcPct val="0"/>
              </a:spcBef>
              <a:spcAft>
                <a:spcPct val="0"/>
              </a:spcAft>
            </a:pPr>
            <a:r>
              <a:rPr lang="ru-RU" altLang="fr-FR" sz="1200" b="1" dirty="0">
                <a:solidFill>
                  <a:srgbClr val="1B3651"/>
                </a:solidFill>
                <a:latin typeface="Tahoma" pitchFamily="34" charset="0"/>
                <a:cs typeface="Tahoma" pitchFamily="34" charset="0"/>
              </a:rPr>
              <a:t>с иммунодефицитами</a:t>
            </a:r>
            <a:endParaRPr lang="en-GB" altLang="fr-FR" sz="1200" b="1" dirty="0">
              <a:solidFill>
                <a:srgbClr val="1B3651"/>
              </a:solidFill>
              <a:latin typeface="Tahoma" pitchFamily="34" charset="0"/>
              <a:cs typeface="Tahoma" pitchFamily="34" charset="0"/>
            </a:endParaRPr>
          </a:p>
        </p:txBody>
      </p:sp>
      <p:sp>
        <p:nvSpPr>
          <p:cNvPr id="330755" name="Rectangle 15"/>
          <p:cNvSpPr>
            <a:spLocks noGrp="1" noChangeArrowheads="1"/>
          </p:cNvSpPr>
          <p:nvPr>
            <p:ph type="title"/>
          </p:nvPr>
        </p:nvSpPr>
        <p:spPr>
          <a:xfrm>
            <a:off x="1524000" y="357188"/>
            <a:ext cx="9144000" cy="1143000"/>
          </a:xfrm>
        </p:spPr>
        <p:txBody>
          <a:bodyPr/>
          <a:lstStyle/>
          <a:p>
            <a:pPr eaLnBrk="1" hangingPunct="1">
              <a:defRPr/>
            </a:pPr>
            <a:r>
              <a:rPr lang="ru-RU" altLang="ru-RU" sz="2800" b="1" i="1" dirty="0">
                <a:solidFill>
                  <a:srgbClr val="FF0000"/>
                </a:solidFill>
              </a:rPr>
              <a:t>Ветряная оспа - </a:t>
            </a:r>
            <a:r>
              <a:rPr lang="ru-RU" altLang="ru-RU" sz="2800" b="1" i="1" dirty="0" smtClean="0">
                <a:solidFill>
                  <a:srgbClr val="FF0000"/>
                </a:solidFill>
              </a:rPr>
              <a:t>небезопасное заболевание </a:t>
            </a:r>
            <a:r>
              <a:rPr lang="ru-RU" altLang="ru-RU" sz="2400" b="1" kern="1200" dirty="0" smtClean="0">
                <a:solidFill>
                  <a:srgbClr val="3399FF"/>
                </a:solidFill>
              </a:rPr>
              <a:t>Серьезное </a:t>
            </a:r>
            <a:r>
              <a:rPr lang="ru-RU" altLang="ru-RU" sz="2400" b="1" kern="1200" dirty="0">
                <a:solidFill>
                  <a:srgbClr val="3399FF"/>
                </a:solidFill>
              </a:rPr>
              <a:t>заболевание, которое часто недооценивают</a:t>
            </a:r>
            <a:r>
              <a:rPr lang="ru-RU" altLang="ru-RU" sz="2000" kern="1200" dirty="0">
                <a:solidFill>
                  <a:srgbClr val="FFFFFF"/>
                </a:solidFill>
              </a:rPr>
              <a:t> </a:t>
            </a:r>
            <a:endParaRPr lang="ru-RU" altLang="ru-RU" sz="2000" kern="1200" dirty="0">
              <a:solidFill>
                <a:srgbClr val="FFFFFF"/>
              </a:solidFill>
            </a:endParaRPr>
          </a:p>
        </p:txBody>
      </p:sp>
      <p:sp>
        <p:nvSpPr>
          <p:cNvPr id="265220" name="Text Box 13"/>
          <p:cNvSpPr txBox="1">
            <a:spLocks noChangeArrowheads="1"/>
          </p:cNvSpPr>
          <p:nvPr/>
        </p:nvSpPr>
        <p:spPr bwMode="auto">
          <a:xfrm>
            <a:off x="1072650" y="1500188"/>
            <a:ext cx="22479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ctr" eaLnBrk="0" fontAlgn="base" hangingPunct="0">
              <a:spcBef>
                <a:spcPct val="0"/>
              </a:spcBef>
              <a:spcAft>
                <a:spcPct val="0"/>
              </a:spcAft>
            </a:pPr>
            <a:r>
              <a:rPr lang="ru-RU" altLang="fr-FR" sz="1200" b="1" dirty="0">
                <a:solidFill>
                  <a:srgbClr val="1B3651"/>
                </a:solidFill>
                <a:latin typeface="Tahoma" pitchFamily="34" charset="0"/>
                <a:cs typeface="Tahoma" pitchFamily="34" charset="0"/>
              </a:rPr>
              <a:t>Ветряная оспа у исходно здоровых детей</a:t>
            </a:r>
            <a:endParaRPr lang="en-GB" altLang="fr-FR" sz="1200" b="1" dirty="0">
              <a:solidFill>
                <a:srgbClr val="1B3651"/>
              </a:solidFill>
              <a:latin typeface="Tahoma" pitchFamily="34" charset="0"/>
              <a:cs typeface="Tahoma" pitchFamily="34" charset="0"/>
            </a:endParaRPr>
          </a:p>
        </p:txBody>
      </p:sp>
      <p:sp>
        <p:nvSpPr>
          <p:cNvPr id="265221" name="Text Box 14"/>
          <p:cNvSpPr txBox="1">
            <a:spLocks noChangeArrowheads="1"/>
          </p:cNvSpPr>
          <p:nvPr/>
        </p:nvSpPr>
        <p:spPr bwMode="auto">
          <a:xfrm>
            <a:off x="1896657" y="6457951"/>
            <a:ext cx="32051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fontAlgn="base">
              <a:spcBef>
                <a:spcPct val="0"/>
              </a:spcBef>
              <a:spcAft>
                <a:spcPct val="0"/>
              </a:spcAft>
            </a:pPr>
            <a:r>
              <a:rPr lang="ru-RU" altLang="ru-RU" sz="700" b="1" dirty="0">
                <a:solidFill>
                  <a:srgbClr val="1B3651"/>
                </a:solidFill>
                <a:latin typeface="Tahoma" pitchFamily="34" charset="0"/>
                <a:cs typeface="Tahoma" pitchFamily="34" charset="0"/>
              </a:rPr>
              <a:t>Фотография с  разрешения </a:t>
            </a:r>
            <a:r>
              <a:rPr lang="en-US" altLang="ru-RU" sz="700" b="1" dirty="0">
                <a:solidFill>
                  <a:srgbClr val="1B3651"/>
                </a:solidFill>
                <a:latin typeface="Tahoma" pitchFamily="34" charset="0"/>
                <a:cs typeface="Tahoma" pitchFamily="34" charset="0"/>
              </a:rPr>
              <a:t> </a:t>
            </a:r>
            <a:r>
              <a:rPr lang="en-GB" altLang="ru-RU" sz="700" dirty="0" err="1">
                <a:solidFill>
                  <a:srgbClr val="1B3651"/>
                </a:solidFill>
                <a:latin typeface="Tahoma" pitchFamily="34" charset="0"/>
                <a:cs typeface="Tahoma" pitchFamily="34" charset="0"/>
              </a:rPr>
              <a:t>Dr.</a:t>
            </a:r>
            <a:r>
              <a:rPr lang="en-GB" altLang="ru-RU" sz="700" dirty="0">
                <a:solidFill>
                  <a:srgbClr val="1B3651"/>
                </a:solidFill>
                <a:latin typeface="Tahoma" pitchFamily="34" charset="0"/>
                <a:cs typeface="Tahoma" pitchFamily="34" charset="0"/>
              </a:rPr>
              <a:t> Barbara Watson</a:t>
            </a:r>
          </a:p>
          <a:p>
            <a:pPr fontAlgn="base">
              <a:spcBef>
                <a:spcPct val="0"/>
              </a:spcBef>
              <a:spcAft>
                <a:spcPct val="0"/>
              </a:spcAft>
            </a:pPr>
            <a:r>
              <a:rPr lang="en-GB" altLang="ru-RU" sz="700" dirty="0">
                <a:solidFill>
                  <a:srgbClr val="1B3651"/>
                </a:solidFill>
                <a:latin typeface="Tahoma" pitchFamily="34" charset="0"/>
                <a:cs typeface="Tahoma" pitchFamily="34" charset="0"/>
              </a:rPr>
              <a:t> </a:t>
            </a:r>
          </a:p>
        </p:txBody>
      </p:sp>
      <p:pic>
        <p:nvPicPr>
          <p:cNvPr id="265222" name="Picture 55" descr="npo0000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7448" y="2028826"/>
            <a:ext cx="1824038" cy="163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52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76998" y="1699659"/>
            <a:ext cx="2638003" cy="2038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5224"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02940" y="2027238"/>
            <a:ext cx="213042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5225" name="Picture 4"/>
          <p:cNvPicPr>
            <a:picLocks noChangeAspect="1" noChangeArrowheads="1"/>
          </p:cNvPicPr>
          <p:nvPr/>
        </p:nvPicPr>
        <p:blipFill>
          <a:blip r:embed="rId6">
            <a:extLst>
              <a:ext uri="{28A0092B-C50C-407E-A947-70E740481C1C}">
                <a14:useLocalDpi xmlns:a14="http://schemas.microsoft.com/office/drawing/2010/main" val="0"/>
              </a:ext>
            </a:extLst>
          </a:blip>
          <a:srcRect r="10822"/>
          <a:stretch>
            <a:fillRect/>
          </a:stretch>
        </p:blipFill>
        <p:spPr bwMode="auto">
          <a:xfrm>
            <a:off x="812617" y="4319588"/>
            <a:ext cx="2453700" cy="1950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5226" name="Picture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01819" y="4358351"/>
            <a:ext cx="1813991" cy="2262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5227"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81292" y="4443925"/>
            <a:ext cx="2067151" cy="1991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5228" name="Text Box 6"/>
          <p:cNvSpPr txBox="1">
            <a:spLocks noChangeArrowheads="1"/>
          </p:cNvSpPr>
          <p:nvPr/>
        </p:nvSpPr>
        <p:spPr bwMode="auto">
          <a:xfrm>
            <a:off x="9081292" y="3935413"/>
            <a:ext cx="1846262"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ctr" eaLnBrk="0" fontAlgn="base" hangingPunct="0">
              <a:spcBef>
                <a:spcPct val="0"/>
              </a:spcBef>
              <a:spcAft>
                <a:spcPct val="0"/>
              </a:spcAft>
            </a:pPr>
            <a:r>
              <a:rPr lang="en-US" altLang="fr-FR" sz="1200" b="1">
                <a:solidFill>
                  <a:srgbClr val="1B3651"/>
                </a:solidFill>
                <a:latin typeface="Tahoma" pitchFamily="34" charset="0"/>
                <a:cs typeface="Tahoma" pitchFamily="34" charset="0"/>
              </a:rPr>
              <a:t>HZ</a:t>
            </a:r>
            <a:r>
              <a:rPr lang="ru-RU" altLang="fr-FR" sz="1200" b="1">
                <a:solidFill>
                  <a:srgbClr val="1B3651"/>
                </a:solidFill>
                <a:latin typeface="Tahoma" pitchFamily="34" charset="0"/>
                <a:cs typeface="Tahoma" pitchFamily="34" charset="0"/>
              </a:rPr>
              <a:t> </a:t>
            </a:r>
            <a:endParaRPr lang="en-GB" altLang="fr-FR" sz="1200" b="1">
              <a:solidFill>
                <a:srgbClr val="1B3651"/>
              </a:solidFill>
              <a:latin typeface="Tahoma" pitchFamily="34" charset="0"/>
              <a:cs typeface="Tahoma" pitchFamily="34" charset="0"/>
            </a:endParaRPr>
          </a:p>
        </p:txBody>
      </p:sp>
      <p:sp>
        <p:nvSpPr>
          <p:cNvPr id="265229" name="Text Box 7"/>
          <p:cNvSpPr txBox="1">
            <a:spLocks noChangeArrowheads="1"/>
          </p:cNvSpPr>
          <p:nvPr/>
        </p:nvSpPr>
        <p:spPr bwMode="auto">
          <a:xfrm>
            <a:off x="4827589" y="3943351"/>
            <a:ext cx="25225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eaLnBrk="0" fontAlgn="base" hangingPunct="0">
              <a:spcBef>
                <a:spcPct val="0"/>
              </a:spcBef>
              <a:spcAft>
                <a:spcPct val="0"/>
              </a:spcAft>
            </a:pPr>
            <a:r>
              <a:rPr lang="ru-RU" altLang="fr-FR" sz="1200" b="1">
                <a:solidFill>
                  <a:srgbClr val="1B3651"/>
                </a:solidFill>
                <a:latin typeface="Tahoma" pitchFamily="34" charset="0"/>
                <a:cs typeface="Tahoma" pitchFamily="34" charset="0"/>
              </a:rPr>
              <a:t>Неонатальная ветряная оспа</a:t>
            </a:r>
            <a:endParaRPr lang="en-GB" altLang="fr-FR" sz="1200" b="1">
              <a:solidFill>
                <a:srgbClr val="1B3651"/>
              </a:solidFill>
              <a:latin typeface="Tahoma" pitchFamily="34" charset="0"/>
              <a:cs typeface="Tahoma" pitchFamily="34" charset="0"/>
            </a:endParaRPr>
          </a:p>
        </p:txBody>
      </p:sp>
      <p:sp>
        <p:nvSpPr>
          <p:cNvPr id="265230" name="Text Box 8"/>
          <p:cNvSpPr txBox="1">
            <a:spLocks noChangeArrowheads="1"/>
          </p:cNvSpPr>
          <p:nvPr/>
        </p:nvSpPr>
        <p:spPr bwMode="auto">
          <a:xfrm>
            <a:off x="909138" y="3935413"/>
            <a:ext cx="2411412"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ctr" eaLnBrk="0" fontAlgn="base" hangingPunct="0">
              <a:lnSpc>
                <a:spcPct val="80000"/>
              </a:lnSpc>
              <a:spcBef>
                <a:spcPct val="0"/>
              </a:spcBef>
              <a:spcAft>
                <a:spcPct val="0"/>
              </a:spcAft>
            </a:pPr>
            <a:r>
              <a:rPr lang="ru-RU" altLang="fr-FR" sz="1200" b="1" dirty="0">
                <a:solidFill>
                  <a:srgbClr val="1B3651"/>
                </a:solidFill>
                <a:latin typeface="Tahoma" pitchFamily="34" charset="0"/>
                <a:cs typeface="Tahoma" pitchFamily="34" charset="0"/>
              </a:rPr>
              <a:t>Осложнения у подростков </a:t>
            </a:r>
            <a:endParaRPr lang="en-US" altLang="fr-FR" sz="1200" b="1" dirty="0">
              <a:solidFill>
                <a:srgbClr val="1B3651"/>
              </a:solidFill>
              <a:latin typeface="Tahoma" pitchFamily="34" charset="0"/>
              <a:cs typeface="Tahoma" pitchFamily="34" charset="0"/>
            </a:endParaRPr>
          </a:p>
          <a:p>
            <a:pPr algn="ctr" eaLnBrk="0" fontAlgn="base" hangingPunct="0">
              <a:lnSpc>
                <a:spcPct val="80000"/>
              </a:lnSpc>
              <a:spcBef>
                <a:spcPct val="0"/>
              </a:spcBef>
              <a:spcAft>
                <a:spcPct val="0"/>
              </a:spcAft>
            </a:pPr>
            <a:r>
              <a:rPr lang="ru-RU" altLang="fr-FR" sz="1200" b="1" dirty="0">
                <a:solidFill>
                  <a:srgbClr val="1B3651"/>
                </a:solidFill>
                <a:latin typeface="Tahoma" pitchFamily="34" charset="0"/>
                <a:cs typeface="Tahoma" pitchFamily="34" charset="0"/>
              </a:rPr>
              <a:t>и взрослых</a:t>
            </a:r>
            <a:endParaRPr lang="en-GB" altLang="fr-FR" sz="1200" b="1" dirty="0">
              <a:solidFill>
                <a:srgbClr val="1B3651"/>
              </a:solidFill>
              <a:latin typeface="Tahoma" pitchFamily="34" charset="0"/>
              <a:cs typeface="Tahoma" pitchFamily="34" charset="0"/>
            </a:endParaRPr>
          </a:p>
        </p:txBody>
      </p:sp>
    </p:spTree>
    <p:extLst>
      <p:ext uri="{BB962C8B-B14F-4D97-AF65-F5344CB8AC3E}">
        <p14:creationId xmlns:p14="http://schemas.microsoft.com/office/powerpoint/2010/main" val="1756847570"/>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Text Box 1"/>
          <p:cNvSpPr txBox="1">
            <a:spLocks noChangeArrowheads="1"/>
          </p:cNvSpPr>
          <p:nvPr/>
        </p:nvSpPr>
        <p:spPr bwMode="auto">
          <a:xfrm>
            <a:off x="263352" y="793690"/>
            <a:ext cx="7993236" cy="2235200"/>
          </a:xfrm>
          <a:prstGeom prst="rect">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tabLst>
                <a:tab pos="911225" algn="l"/>
                <a:tab pos="1825625" algn="l"/>
                <a:tab pos="2740025" algn="l"/>
                <a:tab pos="3654425" algn="l"/>
                <a:tab pos="4568825" algn="l"/>
                <a:tab pos="5483225" algn="l"/>
                <a:tab pos="6397625" algn="l"/>
                <a:tab pos="7312025" algn="l"/>
                <a:tab pos="8226425" algn="l"/>
                <a:tab pos="9140825" algn="l"/>
                <a:tab pos="10055225" algn="l"/>
              </a:tabLst>
              <a:defRPr sz="3200">
                <a:solidFill>
                  <a:schemeClr val="tx1"/>
                </a:solidFill>
                <a:latin typeface="Arial" pitchFamily="34" charset="0"/>
                <a:cs typeface="Arial" pitchFamily="34" charset="0"/>
              </a:defRPr>
            </a:lvl1pPr>
            <a:lvl2pPr marL="741363" indent="-284163">
              <a:tabLst>
                <a:tab pos="911225" algn="l"/>
                <a:tab pos="1825625" algn="l"/>
                <a:tab pos="2740025" algn="l"/>
                <a:tab pos="3654425" algn="l"/>
                <a:tab pos="4568825" algn="l"/>
                <a:tab pos="5483225" algn="l"/>
                <a:tab pos="6397625" algn="l"/>
                <a:tab pos="7312025" algn="l"/>
                <a:tab pos="8226425" algn="l"/>
                <a:tab pos="9140825" algn="l"/>
                <a:tab pos="10055225" algn="l"/>
              </a:tabLst>
              <a:defRPr sz="2800">
                <a:solidFill>
                  <a:schemeClr val="tx1"/>
                </a:solidFill>
                <a:latin typeface="Arial" pitchFamily="34" charset="0"/>
                <a:cs typeface="Arial" pitchFamily="34"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2400">
                <a:solidFill>
                  <a:schemeClr val="tx1"/>
                </a:solidFill>
                <a:latin typeface="Arial" pitchFamily="34" charset="0"/>
                <a:cs typeface="Arial" pitchFamily="34"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2000">
                <a:solidFill>
                  <a:schemeClr val="tx1"/>
                </a:solidFill>
                <a:latin typeface="Arial" pitchFamily="34" charset="0"/>
                <a:cs typeface="Arial" pitchFamily="34"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2000">
                <a:solidFill>
                  <a:schemeClr val="tx1"/>
                </a:solidFill>
                <a:latin typeface="Arial" pitchFamily="34" charset="0"/>
                <a:cs typeface="Arial" pitchFamily="34" charset="0"/>
              </a:defRPr>
            </a:lvl5pPr>
            <a:lvl6pPr eaLnBrk="0" hangingPunct="0">
              <a:tabLst>
                <a:tab pos="911225" algn="l"/>
                <a:tab pos="1825625" algn="l"/>
                <a:tab pos="2740025" algn="l"/>
                <a:tab pos="3654425" algn="l"/>
                <a:tab pos="4568825" algn="l"/>
                <a:tab pos="5483225" algn="l"/>
                <a:tab pos="6397625" algn="l"/>
                <a:tab pos="7312025" algn="l"/>
                <a:tab pos="8226425" algn="l"/>
                <a:tab pos="9140825" algn="l"/>
                <a:tab pos="10055225" algn="l"/>
              </a:tabLst>
              <a:defRPr sz="2000">
                <a:solidFill>
                  <a:schemeClr val="tx1"/>
                </a:solidFill>
                <a:latin typeface="Arial" pitchFamily="34" charset="0"/>
                <a:cs typeface="Arial" pitchFamily="34" charset="0"/>
              </a:defRPr>
            </a:lvl6pPr>
            <a:lvl7pPr eaLnBrk="0" hangingPunct="0">
              <a:tabLst>
                <a:tab pos="911225" algn="l"/>
                <a:tab pos="1825625" algn="l"/>
                <a:tab pos="2740025" algn="l"/>
                <a:tab pos="3654425" algn="l"/>
                <a:tab pos="4568825" algn="l"/>
                <a:tab pos="5483225" algn="l"/>
                <a:tab pos="6397625" algn="l"/>
                <a:tab pos="7312025" algn="l"/>
                <a:tab pos="8226425" algn="l"/>
                <a:tab pos="9140825" algn="l"/>
                <a:tab pos="10055225" algn="l"/>
              </a:tabLst>
              <a:defRPr sz="2000">
                <a:solidFill>
                  <a:schemeClr val="tx1"/>
                </a:solidFill>
                <a:latin typeface="Arial" pitchFamily="34" charset="0"/>
                <a:cs typeface="Arial" pitchFamily="34" charset="0"/>
              </a:defRPr>
            </a:lvl7pPr>
            <a:lvl8pPr eaLnBrk="0" hangingPunct="0">
              <a:tabLst>
                <a:tab pos="911225" algn="l"/>
                <a:tab pos="1825625" algn="l"/>
                <a:tab pos="2740025" algn="l"/>
                <a:tab pos="3654425" algn="l"/>
                <a:tab pos="4568825" algn="l"/>
                <a:tab pos="5483225" algn="l"/>
                <a:tab pos="6397625" algn="l"/>
                <a:tab pos="7312025" algn="l"/>
                <a:tab pos="8226425" algn="l"/>
                <a:tab pos="9140825" algn="l"/>
                <a:tab pos="10055225" algn="l"/>
              </a:tabLst>
              <a:defRPr sz="2000">
                <a:solidFill>
                  <a:schemeClr val="tx1"/>
                </a:solidFill>
                <a:latin typeface="Arial" pitchFamily="34" charset="0"/>
                <a:cs typeface="Arial" pitchFamily="34" charset="0"/>
              </a:defRPr>
            </a:lvl8pPr>
            <a:lvl9pPr eaLnBrk="0" hangingPunct="0">
              <a:tabLst>
                <a:tab pos="911225" algn="l"/>
                <a:tab pos="1825625" algn="l"/>
                <a:tab pos="2740025" algn="l"/>
                <a:tab pos="3654425" algn="l"/>
                <a:tab pos="4568825" algn="l"/>
                <a:tab pos="5483225" algn="l"/>
                <a:tab pos="6397625" algn="l"/>
                <a:tab pos="7312025" algn="l"/>
                <a:tab pos="8226425" algn="l"/>
                <a:tab pos="9140825" algn="l"/>
                <a:tab pos="10055225" algn="l"/>
              </a:tabLst>
              <a:defRPr sz="2000">
                <a:solidFill>
                  <a:schemeClr val="tx1"/>
                </a:solidFill>
                <a:latin typeface="Arial" pitchFamily="34" charset="0"/>
                <a:cs typeface="Arial" pitchFamily="34" charset="0"/>
              </a:defRPr>
            </a:lvl9pPr>
          </a:lstStyle>
          <a:p>
            <a:pPr lvl="1" fontAlgn="base">
              <a:spcBef>
                <a:spcPts val="400"/>
              </a:spcBef>
              <a:spcAft>
                <a:spcPct val="0"/>
              </a:spcAft>
              <a:buClr>
                <a:srgbClr val="3333FF"/>
              </a:buClr>
              <a:buFont typeface="Calibri" pitchFamily="34" charset="0"/>
              <a:buChar char="•"/>
            </a:pPr>
            <a:r>
              <a:rPr lang="ru-RU" altLang="ru-RU" sz="1800" b="1" dirty="0">
                <a:solidFill>
                  <a:srgbClr val="3333FF"/>
                </a:solidFill>
                <a:latin typeface="Calibri" pitchFamily="34" charset="0"/>
                <a:ea typeface="Microsoft YaHei" pitchFamily="34" charset="-122"/>
              </a:rPr>
              <a:t>Развивается у </a:t>
            </a:r>
            <a:r>
              <a:rPr lang="en-GB" altLang="ru-RU" sz="1800" b="1" dirty="0">
                <a:solidFill>
                  <a:srgbClr val="3333FF"/>
                </a:solidFill>
                <a:latin typeface="Calibri" pitchFamily="34" charset="0"/>
                <a:ea typeface="Microsoft YaHei" pitchFamily="34" charset="-122"/>
              </a:rPr>
              <a:t>2% </a:t>
            </a:r>
            <a:r>
              <a:rPr lang="ru-RU" altLang="ru-RU" sz="1800" b="1" dirty="0">
                <a:solidFill>
                  <a:srgbClr val="3333FF"/>
                </a:solidFill>
                <a:latin typeface="Calibri" pitchFamily="34" charset="0"/>
                <a:ea typeface="Microsoft YaHei" pitchFamily="34" charset="-122"/>
              </a:rPr>
              <a:t>новорожденных</a:t>
            </a:r>
            <a:r>
              <a:rPr lang="en-GB" altLang="ru-RU" sz="1800" b="1" dirty="0">
                <a:solidFill>
                  <a:srgbClr val="3333FF"/>
                </a:solidFill>
                <a:latin typeface="Calibri" pitchFamily="34" charset="0"/>
                <a:ea typeface="Microsoft YaHei" pitchFamily="34" charset="-122"/>
              </a:rPr>
              <a:t>, </a:t>
            </a:r>
            <a:r>
              <a:rPr lang="ru-RU" altLang="ru-RU" sz="1800" b="1" dirty="0">
                <a:solidFill>
                  <a:srgbClr val="3333FF"/>
                </a:solidFill>
                <a:latin typeface="Calibri" pitchFamily="34" charset="0"/>
                <a:ea typeface="Microsoft YaHei" pitchFamily="34" charset="-122"/>
              </a:rPr>
              <a:t>при контакте с вирусом </a:t>
            </a:r>
            <a:r>
              <a:rPr lang="ru-RU" altLang="ru-RU" sz="1800" b="1" dirty="0" smtClean="0">
                <a:solidFill>
                  <a:srgbClr val="3333FF"/>
                </a:solidFill>
                <a:latin typeface="Calibri" pitchFamily="34" charset="0"/>
                <a:ea typeface="Microsoft YaHei" pitchFamily="34" charset="-122"/>
              </a:rPr>
              <a:t/>
            </a:r>
            <a:br>
              <a:rPr lang="ru-RU" altLang="ru-RU" sz="1800" b="1" dirty="0" smtClean="0">
                <a:solidFill>
                  <a:srgbClr val="3333FF"/>
                </a:solidFill>
                <a:latin typeface="Calibri" pitchFamily="34" charset="0"/>
                <a:ea typeface="Microsoft YaHei" pitchFamily="34" charset="-122"/>
              </a:rPr>
            </a:br>
            <a:r>
              <a:rPr lang="ru-RU" altLang="ru-RU" sz="1800" b="1" dirty="0" smtClean="0">
                <a:solidFill>
                  <a:srgbClr val="3333FF"/>
                </a:solidFill>
                <a:latin typeface="Calibri" pitchFamily="34" charset="0"/>
                <a:ea typeface="Microsoft YaHei" pitchFamily="34" charset="-122"/>
              </a:rPr>
              <a:t>в </a:t>
            </a:r>
            <a:r>
              <a:rPr lang="ru-RU" altLang="ru-RU" sz="1800" b="1" dirty="0">
                <a:solidFill>
                  <a:srgbClr val="3333FF"/>
                </a:solidFill>
                <a:latin typeface="Calibri" pitchFamily="34" charset="0"/>
                <a:ea typeface="Microsoft YaHei" pitchFamily="34" charset="-122"/>
              </a:rPr>
              <a:t>1 триместре беременности (на 13-20 </a:t>
            </a:r>
            <a:r>
              <a:rPr lang="ru-RU" altLang="ru-RU" sz="1800" b="1" dirty="0" smtClean="0">
                <a:solidFill>
                  <a:srgbClr val="3333FF"/>
                </a:solidFill>
                <a:latin typeface="Calibri" pitchFamily="34" charset="0"/>
                <a:ea typeface="Microsoft YaHei" pitchFamily="34" charset="-122"/>
              </a:rPr>
              <a:t>неделе </a:t>
            </a:r>
            <a:r>
              <a:rPr lang="ru-RU" altLang="ru-RU" sz="1800" b="1" dirty="0" err="1">
                <a:solidFill>
                  <a:srgbClr val="3333FF"/>
                </a:solidFill>
                <a:latin typeface="Calibri" pitchFamily="34" charset="0"/>
                <a:ea typeface="Microsoft YaHei" pitchFamily="34" charset="-122"/>
              </a:rPr>
              <a:t>гестации</a:t>
            </a:r>
            <a:r>
              <a:rPr lang="ru-RU" altLang="ru-RU" sz="1800" b="1" dirty="0" smtClean="0">
                <a:solidFill>
                  <a:srgbClr val="3333FF"/>
                </a:solidFill>
                <a:latin typeface="Calibri" pitchFamily="34" charset="0"/>
                <a:ea typeface="Microsoft YaHei" pitchFamily="34" charset="-122"/>
              </a:rPr>
              <a:t>)</a:t>
            </a:r>
            <a:endParaRPr lang="en-GB" altLang="ru-RU" sz="1800" b="1" baseline="30000" dirty="0">
              <a:solidFill>
                <a:srgbClr val="3333FF"/>
              </a:solidFill>
              <a:latin typeface="Calibri" pitchFamily="34" charset="0"/>
              <a:ea typeface="Microsoft YaHei" pitchFamily="34" charset="-122"/>
            </a:endParaRPr>
          </a:p>
          <a:p>
            <a:pPr lvl="1" fontAlgn="base">
              <a:spcBef>
                <a:spcPts val="400"/>
              </a:spcBef>
              <a:spcAft>
                <a:spcPct val="0"/>
              </a:spcAft>
              <a:buClr>
                <a:srgbClr val="3333FF"/>
              </a:buClr>
              <a:buFont typeface="Calibri" pitchFamily="34" charset="0"/>
              <a:buChar char="•"/>
            </a:pPr>
            <a:r>
              <a:rPr lang="ru-RU" altLang="ru-RU" sz="1800" b="1" dirty="0">
                <a:solidFill>
                  <a:srgbClr val="3333FF"/>
                </a:solidFill>
                <a:latin typeface="Calibri" pitchFamily="34" charset="0"/>
                <a:ea typeface="Microsoft YaHei" pitchFamily="34" charset="-122"/>
              </a:rPr>
              <a:t>Тяжелые повреждения у плода (</a:t>
            </a:r>
            <a:r>
              <a:rPr lang="ru-RU" altLang="ru-RU" sz="1800" b="1" dirty="0" err="1">
                <a:solidFill>
                  <a:srgbClr val="3333FF"/>
                </a:solidFill>
                <a:latin typeface="Calibri" pitchFamily="34" charset="0"/>
                <a:ea typeface="Microsoft YaHei" pitchFamily="34" charset="-122"/>
              </a:rPr>
              <a:t>микроэнцефалия</a:t>
            </a:r>
            <a:r>
              <a:rPr lang="ru-RU" altLang="ru-RU" sz="1800" b="1" dirty="0">
                <a:solidFill>
                  <a:srgbClr val="3333FF"/>
                </a:solidFill>
                <a:latin typeface="Calibri" pitchFamily="34" charset="0"/>
                <a:ea typeface="Microsoft YaHei" pitchFamily="34" charset="-122"/>
              </a:rPr>
              <a:t>, энцефалиты, </a:t>
            </a:r>
            <a:r>
              <a:rPr lang="ru-RU" altLang="ru-RU" sz="1800" b="1" dirty="0" err="1">
                <a:solidFill>
                  <a:srgbClr val="3333FF"/>
                </a:solidFill>
                <a:latin typeface="Calibri" pitchFamily="34" charset="0"/>
                <a:ea typeface="Microsoft YaHei" pitchFamily="34" charset="-122"/>
              </a:rPr>
              <a:t>кортикарная</a:t>
            </a:r>
            <a:r>
              <a:rPr lang="ru-RU" altLang="ru-RU" sz="1800" b="1" dirty="0">
                <a:solidFill>
                  <a:srgbClr val="3333FF"/>
                </a:solidFill>
                <a:latin typeface="Calibri" pitchFamily="34" charset="0"/>
                <a:ea typeface="Microsoft YaHei" pitchFamily="34" charset="-122"/>
              </a:rPr>
              <a:t> атрофия , </a:t>
            </a:r>
            <a:r>
              <a:rPr lang="ru-RU" altLang="ru-RU" sz="1800" b="1" dirty="0" err="1">
                <a:solidFill>
                  <a:srgbClr val="3333FF"/>
                </a:solidFill>
                <a:latin typeface="Calibri" pitchFamily="34" charset="0"/>
                <a:ea typeface="Microsoft YaHei" pitchFamily="34" charset="-122"/>
              </a:rPr>
              <a:t>хориоретиниты</a:t>
            </a:r>
            <a:r>
              <a:rPr lang="ru-RU" altLang="ru-RU" sz="1800" b="1" dirty="0">
                <a:solidFill>
                  <a:srgbClr val="3333FF"/>
                </a:solidFill>
                <a:latin typeface="Calibri" pitchFamily="34" charset="0"/>
                <a:ea typeface="Microsoft YaHei" pitchFamily="34" charset="-122"/>
              </a:rPr>
              <a:t>, мышечная атрофия, гипоплазия конечностей, гипотрофия) </a:t>
            </a:r>
          </a:p>
          <a:p>
            <a:pPr lvl="1" fontAlgn="base">
              <a:spcBef>
                <a:spcPts val="350"/>
              </a:spcBef>
              <a:spcAft>
                <a:spcPct val="0"/>
              </a:spcAft>
              <a:buClr>
                <a:srgbClr val="3333FF"/>
              </a:buClr>
              <a:buFont typeface="Calibri" pitchFamily="34" charset="0"/>
              <a:buChar char="•"/>
            </a:pPr>
            <a:r>
              <a:rPr lang="ru-RU" altLang="ru-RU" sz="1800" b="1" dirty="0">
                <a:solidFill>
                  <a:srgbClr val="3333FF"/>
                </a:solidFill>
                <a:latin typeface="Calibri" pitchFamily="34" charset="0"/>
                <a:ea typeface="Microsoft YaHei" pitchFamily="34" charset="-122"/>
              </a:rPr>
              <a:t>Летальность достигает 61%</a:t>
            </a:r>
          </a:p>
        </p:txBody>
      </p:sp>
      <p:sp>
        <p:nvSpPr>
          <p:cNvPr id="266243" name="Text Box 2"/>
          <p:cNvSpPr txBox="1">
            <a:spLocks noChangeArrowheads="1"/>
          </p:cNvSpPr>
          <p:nvPr/>
        </p:nvSpPr>
        <p:spPr bwMode="auto">
          <a:xfrm>
            <a:off x="7667625" y="6157913"/>
            <a:ext cx="1841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fontAlgn="base">
              <a:spcBef>
                <a:spcPct val="0"/>
              </a:spcBef>
              <a:spcAft>
                <a:spcPct val="0"/>
              </a:spcAft>
            </a:pPr>
            <a:endParaRPr lang="ru-RU" altLang="ru-RU" sz="2000">
              <a:solidFill>
                <a:srgbClr val="000000"/>
              </a:solidFill>
            </a:endParaRPr>
          </a:p>
        </p:txBody>
      </p:sp>
      <p:sp>
        <p:nvSpPr>
          <p:cNvPr id="266244" name="Rectangle 3"/>
          <p:cNvSpPr>
            <a:spLocks noChangeArrowheads="1"/>
          </p:cNvSpPr>
          <p:nvPr/>
        </p:nvSpPr>
        <p:spPr bwMode="auto">
          <a:xfrm>
            <a:off x="1524000" y="5562600"/>
            <a:ext cx="838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fontAlgn="base">
              <a:spcBef>
                <a:spcPct val="0"/>
              </a:spcBef>
              <a:spcAft>
                <a:spcPct val="0"/>
              </a:spcAft>
            </a:pPr>
            <a:endParaRPr lang="ru-RU" altLang="ru-RU" sz="2000">
              <a:solidFill>
                <a:srgbClr val="000000"/>
              </a:solidFill>
            </a:endParaRPr>
          </a:p>
        </p:txBody>
      </p:sp>
      <p:pic>
        <p:nvPicPr>
          <p:cNvPr id="26624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48328" y="620713"/>
            <a:ext cx="2376264" cy="3178904"/>
          </a:xfrm>
          <a:prstGeom prst="rect">
            <a:avLst/>
          </a:prstGeom>
          <a:noFill/>
          <a:ln w="9360">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66246" name="Rectangle 6"/>
          <p:cNvSpPr>
            <a:spLocks noChangeArrowheads="1"/>
          </p:cNvSpPr>
          <p:nvPr/>
        </p:nvSpPr>
        <p:spPr bwMode="auto">
          <a:xfrm>
            <a:off x="-1176808" y="230923"/>
            <a:ext cx="8713788"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p>
            <a:pPr algn="ctr" fontAlgn="base">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altLang="ru-RU" sz="2000" b="1" dirty="0">
                <a:solidFill>
                  <a:srgbClr val="000099"/>
                </a:solidFill>
                <a:ea typeface="Microsoft YaHei" pitchFamily="34" charset="-122"/>
              </a:rPr>
              <a:t>Синдром врожденной ветряной оспы</a:t>
            </a:r>
          </a:p>
        </p:txBody>
      </p:sp>
      <p:sp>
        <p:nvSpPr>
          <p:cNvPr id="266247" name="Rectangle 8"/>
          <p:cNvSpPr>
            <a:spLocks noChangeArrowheads="1"/>
          </p:cNvSpPr>
          <p:nvPr/>
        </p:nvSpPr>
        <p:spPr bwMode="auto">
          <a:xfrm>
            <a:off x="767408" y="2793582"/>
            <a:ext cx="8713787"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p>
            <a:pPr fontAlgn="base">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altLang="ru-RU" sz="2000" b="1" dirty="0">
                <a:solidFill>
                  <a:srgbClr val="000099"/>
                </a:solidFill>
                <a:ea typeface="Microsoft YaHei" pitchFamily="34" charset="-122"/>
              </a:rPr>
              <a:t>Неонатальная ветряная оспа</a:t>
            </a:r>
          </a:p>
        </p:txBody>
      </p:sp>
      <p:sp>
        <p:nvSpPr>
          <p:cNvPr id="266248" name="Rectangle 9"/>
          <p:cNvSpPr>
            <a:spLocks noChangeArrowheads="1"/>
          </p:cNvSpPr>
          <p:nvPr/>
        </p:nvSpPr>
        <p:spPr bwMode="auto">
          <a:xfrm>
            <a:off x="263352" y="3368406"/>
            <a:ext cx="8064673" cy="2016125"/>
          </a:xfrm>
          <a:prstGeom prst="rect">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p>
            <a:pPr marL="741363" lvl="1" indent="-284163" fontAlgn="base">
              <a:spcBef>
                <a:spcPts val="400"/>
              </a:spcBef>
              <a:spcAft>
                <a:spcPct val="0"/>
              </a:spcAft>
              <a:buClr>
                <a:srgbClr val="3333FF"/>
              </a:buClr>
              <a:buFont typeface="Calibri" pitchFamily="34" charset="0"/>
              <a:buChar char="•"/>
              <a:tabLst>
                <a:tab pos="741363" algn="l"/>
                <a:tab pos="1655763" algn="l"/>
                <a:tab pos="2570163" algn="l"/>
                <a:tab pos="3484563" algn="l"/>
                <a:tab pos="4398963" algn="l"/>
                <a:tab pos="5313363" algn="l"/>
                <a:tab pos="6227763" algn="l"/>
                <a:tab pos="7142163" algn="l"/>
                <a:tab pos="8056563" algn="l"/>
                <a:tab pos="8970963" algn="l"/>
                <a:tab pos="9885363" algn="l"/>
                <a:tab pos="10799763" algn="l"/>
              </a:tabLst>
            </a:pPr>
            <a:r>
              <a:rPr lang="ru-RU" altLang="ru-RU" b="1" dirty="0" smtClean="0">
                <a:solidFill>
                  <a:srgbClr val="3333FF"/>
                </a:solidFill>
                <a:latin typeface="Calibri" pitchFamily="34" charset="0"/>
                <a:ea typeface="Microsoft YaHei" pitchFamily="34" charset="-122"/>
              </a:rPr>
              <a:t>Инфицирование в 3 триместре беременности</a:t>
            </a:r>
          </a:p>
          <a:p>
            <a:pPr marL="741363" lvl="1" indent="-284163" fontAlgn="base">
              <a:spcBef>
                <a:spcPts val="400"/>
              </a:spcBef>
              <a:spcAft>
                <a:spcPct val="0"/>
              </a:spcAft>
              <a:buClr>
                <a:srgbClr val="3333FF"/>
              </a:buClr>
              <a:buFont typeface="Calibri" pitchFamily="34" charset="0"/>
              <a:buChar char="•"/>
              <a:tabLst>
                <a:tab pos="741363" algn="l"/>
                <a:tab pos="1655763" algn="l"/>
                <a:tab pos="2570163" algn="l"/>
                <a:tab pos="3484563" algn="l"/>
                <a:tab pos="4398963" algn="l"/>
                <a:tab pos="5313363" algn="l"/>
                <a:tab pos="6227763" algn="l"/>
                <a:tab pos="7142163" algn="l"/>
                <a:tab pos="8056563" algn="l"/>
                <a:tab pos="8970963" algn="l"/>
                <a:tab pos="9885363" algn="l"/>
                <a:tab pos="10799763" algn="l"/>
              </a:tabLst>
            </a:pPr>
            <a:r>
              <a:rPr lang="ru-RU" altLang="ru-RU" b="1" dirty="0" smtClean="0">
                <a:solidFill>
                  <a:srgbClr val="3333FF"/>
                </a:solidFill>
                <a:latin typeface="Calibri" pitchFamily="34" charset="0"/>
                <a:ea typeface="Microsoft YaHei" pitchFamily="34" charset="-122"/>
              </a:rPr>
              <a:t>Фактор </a:t>
            </a:r>
            <a:r>
              <a:rPr lang="ru-RU" altLang="ru-RU" b="1" dirty="0">
                <a:solidFill>
                  <a:srgbClr val="3333FF"/>
                </a:solidFill>
                <a:latin typeface="Calibri" pitchFamily="34" charset="0"/>
                <a:ea typeface="Microsoft YaHei" pitchFamily="34" charset="-122"/>
              </a:rPr>
              <a:t>риска: появление у матери высыпаний в период от 5 дней </a:t>
            </a:r>
            <a:r>
              <a:rPr lang="ru-RU" altLang="ru-RU" b="1" dirty="0" smtClean="0">
                <a:solidFill>
                  <a:srgbClr val="3333FF"/>
                </a:solidFill>
                <a:latin typeface="Calibri" pitchFamily="34" charset="0"/>
                <a:ea typeface="Microsoft YaHei" pitchFamily="34" charset="-122"/>
              </a:rPr>
              <a:t/>
            </a:r>
            <a:br>
              <a:rPr lang="ru-RU" altLang="ru-RU" b="1" dirty="0" smtClean="0">
                <a:solidFill>
                  <a:srgbClr val="3333FF"/>
                </a:solidFill>
                <a:latin typeface="Calibri" pitchFamily="34" charset="0"/>
                <a:ea typeface="Microsoft YaHei" pitchFamily="34" charset="-122"/>
              </a:rPr>
            </a:br>
            <a:r>
              <a:rPr lang="ru-RU" altLang="ru-RU" b="1" dirty="0" smtClean="0">
                <a:solidFill>
                  <a:srgbClr val="3333FF"/>
                </a:solidFill>
                <a:latin typeface="Calibri" pitchFamily="34" charset="0"/>
                <a:ea typeface="Microsoft YaHei" pitchFamily="34" charset="-122"/>
              </a:rPr>
              <a:t>до </a:t>
            </a:r>
            <a:r>
              <a:rPr lang="ru-RU" altLang="ru-RU" b="1" dirty="0">
                <a:solidFill>
                  <a:srgbClr val="3333FF"/>
                </a:solidFill>
                <a:latin typeface="Calibri" pitchFamily="34" charset="0"/>
                <a:ea typeface="Microsoft YaHei" pitchFamily="34" charset="-122"/>
              </a:rPr>
              <a:t>родов до 2 дней после родов</a:t>
            </a:r>
            <a:r>
              <a:rPr lang="ru-RU" altLang="ru-RU" b="1" dirty="0" smtClean="0">
                <a:solidFill>
                  <a:srgbClr val="3333FF"/>
                </a:solidFill>
                <a:latin typeface="Calibri" pitchFamily="34" charset="0"/>
                <a:ea typeface="Microsoft YaHei" pitchFamily="34" charset="-122"/>
              </a:rPr>
              <a:t>)</a:t>
            </a:r>
            <a:endParaRPr lang="en-GB" altLang="ru-RU" b="1" baseline="30000" dirty="0">
              <a:solidFill>
                <a:srgbClr val="3333FF"/>
              </a:solidFill>
              <a:latin typeface="Calibri" pitchFamily="34" charset="0"/>
              <a:ea typeface="Microsoft YaHei" pitchFamily="34" charset="-122"/>
            </a:endParaRPr>
          </a:p>
          <a:p>
            <a:pPr marL="741363" lvl="1" indent="-284163" fontAlgn="base">
              <a:spcBef>
                <a:spcPts val="400"/>
              </a:spcBef>
              <a:spcAft>
                <a:spcPct val="0"/>
              </a:spcAft>
              <a:buClr>
                <a:srgbClr val="3333FF"/>
              </a:buClr>
              <a:buFont typeface="Calibri" pitchFamily="34" charset="0"/>
              <a:buChar char="•"/>
              <a:tabLst>
                <a:tab pos="741363" algn="l"/>
                <a:tab pos="1655763" algn="l"/>
                <a:tab pos="2570163" algn="l"/>
                <a:tab pos="3484563" algn="l"/>
                <a:tab pos="4398963" algn="l"/>
                <a:tab pos="5313363" algn="l"/>
                <a:tab pos="6227763" algn="l"/>
                <a:tab pos="7142163" algn="l"/>
                <a:tab pos="8056563" algn="l"/>
                <a:tab pos="8970963" algn="l"/>
                <a:tab pos="9885363" algn="l"/>
                <a:tab pos="10799763" algn="l"/>
              </a:tabLst>
            </a:pPr>
            <a:r>
              <a:rPr lang="ru-RU" altLang="ru-RU" b="1" dirty="0">
                <a:solidFill>
                  <a:srgbClr val="3333FF"/>
                </a:solidFill>
                <a:latin typeface="Calibri" pitchFamily="34" charset="0"/>
                <a:ea typeface="Microsoft YaHei" pitchFamily="34" charset="-122"/>
              </a:rPr>
              <a:t>Трансфер материнских антител через плаценту отсутствует, из-за чего у новорожденного иммунитет не </a:t>
            </a:r>
            <a:r>
              <a:rPr lang="ru-RU" altLang="ru-RU" b="1" dirty="0" smtClean="0">
                <a:solidFill>
                  <a:srgbClr val="3333FF"/>
                </a:solidFill>
                <a:latin typeface="Calibri" pitchFamily="34" charset="0"/>
                <a:ea typeface="Microsoft YaHei" pitchFamily="34" charset="-122"/>
              </a:rPr>
              <a:t>формируется</a:t>
            </a:r>
            <a:endParaRPr lang="ru-RU" altLang="ru-RU" b="1" dirty="0">
              <a:solidFill>
                <a:srgbClr val="3333FF"/>
              </a:solidFill>
              <a:latin typeface="Calibri" pitchFamily="34" charset="0"/>
              <a:ea typeface="Microsoft YaHei" pitchFamily="34" charset="-122"/>
            </a:endParaRPr>
          </a:p>
          <a:p>
            <a:pPr marL="741363" lvl="1" indent="-284163" fontAlgn="base">
              <a:spcBef>
                <a:spcPts val="400"/>
              </a:spcBef>
              <a:spcAft>
                <a:spcPct val="0"/>
              </a:spcAft>
              <a:buClr>
                <a:srgbClr val="3333FF"/>
              </a:buClr>
              <a:buFont typeface="Calibri" pitchFamily="34" charset="0"/>
              <a:buChar char="•"/>
              <a:tabLst>
                <a:tab pos="741363" algn="l"/>
                <a:tab pos="1655763" algn="l"/>
                <a:tab pos="2570163" algn="l"/>
                <a:tab pos="3484563" algn="l"/>
                <a:tab pos="4398963" algn="l"/>
                <a:tab pos="5313363" algn="l"/>
                <a:tab pos="6227763" algn="l"/>
                <a:tab pos="7142163" algn="l"/>
                <a:tab pos="8056563" algn="l"/>
                <a:tab pos="8970963" algn="l"/>
                <a:tab pos="9885363" algn="l"/>
                <a:tab pos="10799763" algn="l"/>
              </a:tabLst>
            </a:pPr>
            <a:r>
              <a:rPr lang="ru-RU" altLang="ru-RU" b="1" dirty="0">
                <a:solidFill>
                  <a:srgbClr val="3333FF"/>
                </a:solidFill>
                <a:latin typeface="Calibri" pitchFamily="34" charset="0"/>
                <a:ea typeface="Microsoft YaHei" pitchFamily="34" charset="-122"/>
              </a:rPr>
              <a:t>Летальность достигает 30%</a:t>
            </a:r>
          </a:p>
        </p:txBody>
      </p:sp>
      <p:sp>
        <p:nvSpPr>
          <p:cNvPr id="266249" name="Прямоугольник 1"/>
          <p:cNvSpPr>
            <a:spLocks noChangeArrowheads="1"/>
          </p:cNvSpPr>
          <p:nvPr/>
        </p:nvSpPr>
        <p:spPr bwMode="auto">
          <a:xfrm>
            <a:off x="767408" y="5478463"/>
            <a:ext cx="511256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fontAlgn="base">
              <a:spcBef>
                <a:spcPts val="700"/>
              </a:spcBef>
              <a:spcAft>
                <a:spcPct val="0"/>
              </a:spcAft>
            </a:pPr>
            <a:r>
              <a:rPr lang="ru-RU" altLang="ru-RU" sz="2400" b="1" dirty="0">
                <a:solidFill>
                  <a:srgbClr val="C00000"/>
                </a:solidFill>
                <a:latin typeface="Calibri" pitchFamily="34" charset="0"/>
                <a:ea typeface="Microsoft YaHei" pitchFamily="34" charset="-122"/>
              </a:rPr>
              <a:t>Как мы можем противостоять этой инфекции?</a:t>
            </a:r>
          </a:p>
        </p:txBody>
      </p:sp>
      <p:sp>
        <p:nvSpPr>
          <p:cNvPr id="266250" name="Прямоугольник 2"/>
          <p:cNvSpPr>
            <a:spLocks noChangeArrowheads="1"/>
          </p:cNvSpPr>
          <p:nvPr/>
        </p:nvSpPr>
        <p:spPr bwMode="auto">
          <a:xfrm>
            <a:off x="6528048" y="5562600"/>
            <a:ext cx="518457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fontAlgn="base">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ru-RU" altLang="ru-RU" sz="2000" b="1" i="1" dirty="0">
                <a:solidFill>
                  <a:srgbClr val="C00000"/>
                </a:solidFill>
              </a:rPr>
              <a:t>Если устранить причину, исчезнет и болезнь – </a:t>
            </a:r>
            <a:r>
              <a:rPr lang="ru-RU" altLang="ru-RU" sz="2000" b="1" i="1" dirty="0" smtClean="0">
                <a:solidFill>
                  <a:srgbClr val="C00000"/>
                </a:solidFill>
              </a:rPr>
              <a:t>нужна </a:t>
            </a:r>
            <a:r>
              <a:rPr lang="ru-RU" altLang="ru-RU" sz="2000" b="1" i="1" dirty="0">
                <a:solidFill>
                  <a:srgbClr val="C00000"/>
                </a:solidFill>
              </a:rPr>
              <a:t>вакцинация</a:t>
            </a:r>
          </a:p>
        </p:txBody>
      </p:sp>
    </p:spTree>
    <p:extLst>
      <p:ext uri="{BB962C8B-B14F-4D97-AF65-F5344CB8AC3E}">
        <p14:creationId xmlns:p14="http://schemas.microsoft.com/office/powerpoint/2010/main" val="3217845439"/>
      </p:ext>
    </p:extLst>
  </p:cSld>
  <p:clrMapOvr>
    <a:masterClrMapping/>
  </p:clrMapOvr>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Title 3"/>
          <p:cNvSpPr>
            <a:spLocks noGrp="1"/>
          </p:cNvSpPr>
          <p:nvPr>
            <p:ph type="title"/>
          </p:nvPr>
        </p:nvSpPr>
        <p:spPr>
          <a:xfrm>
            <a:off x="191344" y="116632"/>
            <a:ext cx="11809311" cy="1163638"/>
          </a:xfrm>
        </p:spPr>
        <p:txBody>
          <a:bodyPr/>
          <a:lstStyle/>
          <a:p>
            <a:r>
              <a:rPr lang="ru-RU" altLang="ru-RU" sz="3200" b="1" dirty="0" err="1">
                <a:solidFill>
                  <a:srgbClr val="00B050"/>
                </a:solidFill>
              </a:rPr>
              <a:t>Ротавирусная</a:t>
            </a:r>
            <a:r>
              <a:rPr lang="ru-RU" altLang="ru-RU" sz="3200" b="1" dirty="0">
                <a:solidFill>
                  <a:srgbClr val="00B050"/>
                </a:solidFill>
              </a:rPr>
              <a:t> инфекция: </a:t>
            </a:r>
            <a:r>
              <a:rPr lang="ru-RU" altLang="ru-RU" sz="3200" b="1" dirty="0" smtClean="0">
                <a:solidFill>
                  <a:srgbClr val="00B050"/>
                </a:solidFill>
              </a:rPr>
              <a:t>проблемы </a:t>
            </a:r>
            <a:r>
              <a:rPr lang="ru-RU" altLang="ru-RU" sz="3200" b="1" dirty="0">
                <a:solidFill>
                  <a:srgbClr val="00B050"/>
                </a:solidFill>
              </a:rPr>
              <a:t>и решения</a:t>
            </a:r>
            <a:endParaRPr lang="ru-RU" altLang="ru-RU" sz="3200" b="1" dirty="0">
              <a:solidFill>
                <a:srgbClr val="FF0000"/>
              </a:solidFill>
            </a:endParaRPr>
          </a:p>
        </p:txBody>
      </p:sp>
      <p:graphicFrame>
        <p:nvGraphicFramePr>
          <p:cNvPr id="3" name="Diagram 2"/>
          <p:cNvGraphicFramePr/>
          <p:nvPr/>
        </p:nvGraphicFramePr>
        <p:xfrm>
          <a:off x="2057400" y="1143000"/>
          <a:ext cx="80010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69316" name="Picture 4"/>
          <p:cNvPicPr>
            <a:picLocks noChangeAspect="1" noChangeArrowheads="1"/>
          </p:cNvPicPr>
          <p:nvPr/>
        </p:nvPicPr>
        <p:blipFill>
          <a:blip r:embed="rId8">
            <a:extLst>
              <a:ext uri="{28A0092B-C50C-407E-A947-70E740481C1C}">
                <a14:useLocalDpi xmlns:a14="http://schemas.microsoft.com/office/drawing/2010/main" val="0"/>
              </a:ext>
            </a:extLst>
          </a:blip>
          <a:srcRect l="27065" t="28682" r="54185" b="39070"/>
          <a:stretch>
            <a:fillRect/>
          </a:stretch>
        </p:blipFill>
        <p:spPr bwMode="auto">
          <a:xfrm>
            <a:off x="5399088" y="2971801"/>
            <a:ext cx="1600200" cy="154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9317" name="Прямоугольник 1"/>
          <p:cNvSpPr>
            <a:spLocks noChangeArrowheads="1"/>
          </p:cNvSpPr>
          <p:nvPr/>
        </p:nvSpPr>
        <p:spPr bwMode="auto">
          <a:xfrm>
            <a:off x="191344" y="5273675"/>
            <a:ext cx="1159328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fontAlgn="base">
              <a:spcBef>
                <a:spcPct val="40000"/>
              </a:spcBef>
              <a:spcAft>
                <a:spcPct val="0"/>
              </a:spcAft>
              <a:buClr>
                <a:srgbClr val="000000"/>
              </a:buClr>
            </a:pPr>
            <a:r>
              <a:rPr lang="ru-RU" altLang="ru-RU" sz="2000" b="1" dirty="0" smtClean="0">
                <a:solidFill>
                  <a:srgbClr val="CC0000"/>
                </a:solidFill>
                <a:latin typeface="Arial Black" pitchFamily="34" charset="0"/>
              </a:rPr>
              <a:t>Необходимость </a:t>
            </a:r>
            <a:r>
              <a:rPr lang="ru-RU" altLang="ru-RU" sz="2000" b="1" dirty="0">
                <a:solidFill>
                  <a:srgbClr val="CC0000"/>
                </a:solidFill>
                <a:latin typeface="Arial Black" pitchFamily="34" charset="0"/>
              </a:rPr>
              <a:t>внедрения отечественных </a:t>
            </a:r>
            <a:r>
              <a:rPr lang="ru-RU" altLang="ru-RU" sz="2000" b="1" dirty="0" err="1">
                <a:solidFill>
                  <a:srgbClr val="CC0000"/>
                </a:solidFill>
                <a:latin typeface="Arial Black" pitchFamily="34" charset="0"/>
              </a:rPr>
              <a:t>клиничеких</a:t>
            </a:r>
            <a:r>
              <a:rPr lang="ru-RU" altLang="ru-RU" sz="2000" b="1" dirty="0">
                <a:solidFill>
                  <a:srgbClr val="CC0000"/>
                </a:solidFill>
                <a:latin typeface="Arial Black" pitchFamily="34" charset="0"/>
              </a:rPr>
              <a:t> рекомендаций и  стандартов </a:t>
            </a:r>
            <a:r>
              <a:rPr lang="ru-RU" altLang="ru-RU" sz="2000" b="1" dirty="0" smtClean="0">
                <a:solidFill>
                  <a:srgbClr val="CC0000"/>
                </a:solidFill>
                <a:latin typeface="Arial Black" pitchFamily="34" charset="0"/>
              </a:rPr>
              <a:t>терапии, реализация </a:t>
            </a:r>
            <a:r>
              <a:rPr lang="ru-RU" altLang="ru-RU" sz="2000" b="1" dirty="0">
                <a:solidFill>
                  <a:srgbClr val="CC0000"/>
                </a:solidFill>
                <a:latin typeface="Arial Black" pitchFamily="34" charset="0"/>
              </a:rPr>
              <a:t>программы вакцинопрофилактики </a:t>
            </a:r>
            <a:r>
              <a:rPr lang="ru-RU" altLang="ru-RU" sz="2000" b="1" dirty="0" err="1">
                <a:solidFill>
                  <a:srgbClr val="CC0000"/>
                </a:solidFill>
                <a:latin typeface="Arial Black" pitchFamily="34" charset="0"/>
              </a:rPr>
              <a:t>ротавирусной</a:t>
            </a:r>
            <a:r>
              <a:rPr lang="ru-RU" altLang="ru-RU" sz="2000" b="1" dirty="0">
                <a:solidFill>
                  <a:srgbClr val="CC0000"/>
                </a:solidFill>
                <a:latin typeface="Arial Black" pitchFamily="34" charset="0"/>
              </a:rPr>
              <a:t> инфекции</a:t>
            </a:r>
          </a:p>
        </p:txBody>
      </p:sp>
    </p:spTree>
    <p:extLst>
      <p:ext uri="{BB962C8B-B14F-4D97-AF65-F5344CB8AC3E}">
        <p14:creationId xmlns:p14="http://schemas.microsoft.com/office/powerpoint/2010/main" val="10439701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Нижний колонтитул 3"/>
          <p:cNvSpPr>
            <a:spLocks noGrp="1"/>
          </p:cNvSpPr>
          <p:nvPr>
            <p:ph type="ftr" sz="quarter" idx="11"/>
          </p:nvPr>
        </p:nvSpPr>
        <p:spPr>
          <a:xfrm>
            <a:off x="568049" y="6245225"/>
            <a:ext cx="3546751" cy="4762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l"/>
            <a:r>
              <a:rPr lang="ru-RU" altLang="ru-RU" sz="1400" dirty="0">
                <a:solidFill>
                  <a:srgbClr val="000000"/>
                </a:solidFill>
              </a:rPr>
              <a:t>\Челябинск  26-02-09 Ковальчук Н.В. </a:t>
            </a:r>
            <a:endParaRPr lang="en-US" altLang="ru-RU" sz="1400" dirty="0">
              <a:solidFill>
                <a:srgbClr val="000000"/>
              </a:solidFill>
            </a:endParaRPr>
          </a:p>
        </p:txBody>
      </p:sp>
      <p:sp>
        <p:nvSpPr>
          <p:cNvPr id="312323" name="Text Box 2"/>
          <p:cNvSpPr txBox="1">
            <a:spLocks noChangeArrowheads="1"/>
          </p:cNvSpPr>
          <p:nvPr/>
        </p:nvSpPr>
        <p:spPr bwMode="auto">
          <a:xfrm>
            <a:off x="4092353" y="1070805"/>
            <a:ext cx="7669831"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tx1"/>
                </a:solidFill>
                <a:latin typeface="Arial" pitchFamily="34" charset="0"/>
                <a:cs typeface="Arial" pitchFamily="34" charset="0"/>
              </a:defRPr>
            </a:lvl1pPr>
            <a:lvl2pPr marL="742950" indent="-285750" eaLnBrk="0" hangingPunct="0">
              <a:spcBef>
                <a:spcPct val="20000"/>
              </a:spcBef>
              <a:buChar char="–"/>
              <a:defRPr sz="2800">
                <a:solidFill>
                  <a:schemeClr val="tx1"/>
                </a:solidFill>
                <a:latin typeface="Arial" pitchFamily="34" charset="0"/>
                <a:cs typeface="Arial" pitchFamily="34" charset="0"/>
              </a:defRPr>
            </a:lvl2pPr>
            <a:lvl3pPr marL="1143000" indent="-228600" eaLnBrk="0" hangingPunct="0">
              <a:spcBef>
                <a:spcPct val="20000"/>
              </a:spcBef>
              <a:buChar char="•"/>
              <a:defRPr sz="24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eaLnBrk="1" fontAlgn="base" hangingPunct="1">
              <a:spcBef>
                <a:spcPct val="0"/>
              </a:spcBef>
              <a:spcAft>
                <a:spcPct val="0"/>
              </a:spcAft>
              <a:buFontTx/>
              <a:buNone/>
              <a:defRPr/>
            </a:pPr>
            <a:r>
              <a:rPr lang="ru-RU" b="1" dirty="0">
                <a:solidFill>
                  <a:srgbClr val="44546A">
                    <a:lumMod val="50000"/>
                  </a:srgbClr>
                </a:solidFill>
                <a:latin typeface="Calibri"/>
                <a:cs typeface="Arial"/>
              </a:rPr>
              <a:t>Российский Дальний </a:t>
            </a:r>
            <a:r>
              <a:rPr lang="ru-RU" b="1" dirty="0" smtClean="0">
                <a:solidFill>
                  <a:srgbClr val="44546A">
                    <a:lumMod val="50000"/>
                  </a:srgbClr>
                </a:solidFill>
                <a:latin typeface="Calibri"/>
                <a:cs typeface="Arial"/>
              </a:rPr>
              <a:t>Восток остается </a:t>
            </a:r>
            <a:r>
              <a:rPr lang="ru-RU" b="1" dirty="0">
                <a:solidFill>
                  <a:srgbClr val="44546A">
                    <a:lumMod val="50000"/>
                  </a:srgbClr>
                </a:solidFill>
                <a:latin typeface="Calibri"/>
                <a:cs typeface="Arial"/>
              </a:rPr>
              <a:t>регионом, </a:t>
            </a:r>
            <a:r>
              <a:rPr lang="ru-RU" b="1" dirty="0" err="1">
                <a:solidFill>
                  <a:srgbClr val="44546A">
                    <a:lumMod val="50000"/>
                  </a:srgbClr>
                </a:solidFill>
                <a:latin typeface="Calibri"/>
                <a:cs typeface="Arial"/>
              </a:rPr>
              <a:t>высокоэндемичным</a:t>
            </a:r>
            <a:r>
              <a:rPr lang="ru-RU" b="1" dirty="0">
                <a:solidFill>
                  <a:srgbClr val="44546A">
                    <a:lumMod val="50000"/>
                  </a:srgbClr>
                </a:solidFill>
                <a:latin typeface="Calibri"/>
                <a:cs typeface="Arial"/>
              </a:rPr>
              <a:t> по КЭ</a:t>
            </a:r>
            <a:endParaRPr lang="ru-RU" dirty="0">
              <a:solidFill>
                <a:prstClr val="black"/>
              </a:solidFill>
            </a:endParaRPr>
          </a:p>
        </p:txBody>
      </p:sp>
      <p:sp>
        <p:nvSpPr>
          <p:cNvPr id="270340" name="Rectangle 3"/>
          <p:cNvSpPr>
            <a:spLocks noChangeArrowheads="1"/>
          </p:cNvSpPr>
          <p:nvPr/>
        </p:nvSpPr>
        <p:spPr bwMode="auto">
          <a:xfrm>
            <a:off x="5059363" y="2301943"/>
            <a:ext cx="5608637"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fontAlgn="base">
              <a:spcBef>
                <a:spcPct val="0"/>
              </a:spcBef>
              <a:spcAft>
                <a:spcPct val="0"/>
              </a:spcAft>
            </a:pPr>
            <a:r>
              <a:rPr lang="ru-RU" altLang="ru-RU" sz="2000" b="1" dirty="0">
                <a:solidFill>
                  <a:srgbClr val="000099"/>
                </a:solidFill>
              </a:rPr>
              <a:t>Группы высокого риска</a:t>
            </a:r>
            <a:endParaRPr lang="it-IT" altLang="ru-RU" sz="2000" b="1" dirty="0">
              <a:solidFill>
                <a:srgbClr val="000099"/>
              </a:solidFill>
            </a:endParaRPr>
          </a:p>
        </p:txBody>
      </p:sp>
      <p:sp>
        <p:nvSpPr>
          <p:cNvPr id="270341" name="Rectangle 5"/>
          <p:cNvSpPr>
            <a:spLocks noChangeArrowheads="1"/>
          </p:cNvSpPr>
          <p:nvPr/>
        </p:nvSpPr>
        <p:spPr bwMode="auto">
          <a:xfrm>
            <a:off x="4439816" y="2887364"/>
            <a:ext cx="6948214"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fontAlgn="base">
              <a:spcBef>
                <a:spcPct val="0"/>
              </a:spcBef>
              <a:spcAft>
                <a:spcPct val="0"/>
              </a:spcAft>
            </a:pPr>
            <a:r>
              <a:rPr lang="ru-RU" altLang="zh-CN" dirty="0">
                <a:solidFill>
                  <a:srgbClr val="000099"/>
                </a:solidFill>
                <a:latin typeface="Times" pitchFamily="18" charset="0"/>
              </a:rPr>
              <a:t>Из общего числа заболевших клещевым энцефалитом </a:t>
            </a:r>
            <a:r>
              <a:rPr lang="ru-RU" altLang="zh-CN" dirty="0" smtClean="0">
                <a:solidFill>
                  <a:srgbClr val="000099"/>
                </a:solidFill>
                <a:latin typeface="Times" pitchFamily="18" charset="0"/>
              </a:rPr>
              <a:t/>
            </a:r>
            <a:br>
              <a:rPr lang="ru-RU" altLang="zh-CN" dirty="0" smtClean="0">
                <a:solidFill>
                  <a:srgbClr val="000099"/>
                </a:solidFill>
                <a:latin typeface="Times" pitchFamily="18" charset="0"/>
              </a:rPr>
            </a:br>
            <a:r>
              <a:rPr lang="ru-RU" altLang="zh-CN" dirty="0" smtClean="0">
                <a:solidFill>
                  <a:srgbClr val="000099"/>
                </a:solidFill>
                <a:latin typeface="Times" pitchFamily="18" charset="0"/>
              </a:rPr>
              <a:t>до 75–80</a:t>
            </a:r>
            <a:r>
              <a:rPr lang="ru-RU" altLang="zh-CN" dirty="0">
                <a:solidFill>
                  <a:srgbClr val="000099"/>
                </a:solidFill>
                <a:latin typeface="Times" pitchFamily="18" charset="0"/>
              </a:rPr>
              <a:t>% больных составляют жители городов, заражение которых происходит в </a:t>
            </a:r>
            <a:r>
              <a:rPr lang="ru-RU" altLang="zh-CN" dirty="0" err="1">
                <a:solidFill>
                  <a:srgbClr val="000099"/>
                </a:solidFill>
                <a:latin typeface="Times" pitchFamily="18" charset="0"/>
              </a:rPr>
              <a:t>антропургических</a:t>
            </a:r>
            <a:r>
              <a:rPr lang="ru-RU" altLang="zh-CN" dirty="0">
                <a:solidFill>
                  <a:srgbClr val="000099"/>
                </a:solidFill>
                <a:latin typeface="Times" pitchFamily="18" charset="0"/>
              </a:rPr>
              <a:t> очагах (пригородной зоне) во время поездок по бытовым причинам.</a:t>
            </a:r>
            <a:br>
              <a:rPr lang="ru-RU" altLang="zh-CN" dirty="0">
                <a:solidFill>
                  <a:srgbClr val="000099"/>
                </a:solidFill>
                <a:latin typeface="Times" pitchFamily="18" charset="0"/>
              </a:rPr>
            </a:br>
            <a:r>
              <a:rPr lang="ru-RU" altLang="zh-CN" dirty="0">
                <a:solidFill>
                  <a:srgbClr val="000099"/>
                </a:solidFill>
                <a:latin typeface="Times" pitchFamily="18" charset="0"/>
              </a:rPr>
              <a:t>До 30% заболевших составляют дети.</a:t>
            </a:r>
            <a:br>
              <a:rPr lang="ru-RU" altLang="zh-CN" dirty="0">
                <a:solidFill>
                  <a:srgbClr val="000099"/>
                </a:solidFill>
                <a:latin typeface="Times" pitchFamily="18" charset="0"/>
              </a:rPr>
            </a:br>
            <a:r>
              <a:rPr lang="ru-RU" altLang="zh-CN" dirty="0">
                <a:solidFill>
                  <a:srgbClr val="000099"/>
                </a:solidFill>
                <a:latin typeface="Times" pitchFamily="18" charset="0"/>
              </a:rPr>
              <a:t> </a:t>
            </a:r>
            <a:br>
              <a:rPr lang="ru-RU" altLang="zh-CN" dirty="0">
                <a:solidFill>
                  <a:srgbClr val="000099"/>
                </a:solidFill>
                <a:latin typeface="Times" pitchFamily="18" charset="0"/>
              </a:rPr>
            </a:br>
            <a:r>
              <a:rPr lang="ru-RU" altLang="zh-CN" dirty="0">
                <a:solidFill>
                  <a:srgbClr val="000099"/>
                </a:solidFill>
                <a:latin typeface="Times" pitchFamily="18" charset="0"/>
              </a:rPr>
              <a:t>Новейшие данные </a:t>
            </a:r>
            <a:r>
              <a:rPr lang="ru-RU" altLang="zh-CN" dirty="0" err="1">
                <a:solidFill>
                  <a:srgbClr val="000099"/>
                </a:solidFill>
                <a:latin typeface="Times" pitchFamily="18" charset="0"/>
              </a:rPr>
              <a:t>фармакоэкономических</a:t>
            </a:r>
            <a:r>
              <a:rPr lang="ru-RU" altLang="zh-CN" dirty="0">
                <a:solidFill>
                  <a:srgbClr val="000099"/>
                </a:solidFill>
                <a:latin typeface="Times" pitchFamily="18" charset="0"/>
              </a:rPr>
              <a:t> исследований показывают, что именно дети являются наиболее экономически оправданной группой для массовой вакцинации против КЭ</a:t>
            </a:r>
            <a:br>
              <a:rPr lang="ru-RU" altLang="zh-CN" dirty="0">
                <a:solidFill>
                  <a:srgbClr val="000099"/>
                </a:solidFill>
                <a:latin typeface="Times" pitchFamily="18" charset="0"/>
              </a:rPr>
            </a:br>
            <a:r>
              <a:rPr lang="ru-RU" altLang="zh-CN" i="1" dirty="0">
                <a:solidFill>
                  <a:srgbClr val="000099"/>
                </a:solidFill>
                <a:latin typeface="Times" pitchFamily="18" charset="0"/>
              </a:rPr>
              <a:t>(Куликов А.Ю, Ягудина Р.И</a:t>
            </a:r>
            <a:r>
              <a:rPr lang="ru-RU" altLang="zh-CN" i="1" dirty="0" smtClean="0">
                <a:solidFill>
                  <a:srgbClr val="000099"/>
                </a:solidFill>
                <a:latin typeface="Times" pitchFamily="18" charset="0"/>
              </a:rPr>
              <a:t>.,ММА </a:t>
            </a:r>
            <a:r>
              <a:rPr lang="ru-RU" altLang="zh-CN" i="1" dirty="0">
                <a:solidFill>
                  <a:srgbClr val="000099"/>
                </a:solidFill>
                <a:latin typeface="Times" pitchFamily="18" charset="0"/>
              </a:rPr>
              <a:t>им Сеченова, 2009 г)</a:t>
            </a:r>
            <a:endParaRPr lang="it-IT" altLang="ru-RU" i="1" dirty="0">
              <a:solidFill>
                <a:srgbClr val="000099"/>
              </a:solidFill>
              <a:latin typeface="Times" pitchFamily="18" charset="0"/>
            </a:endParaRPr>
          </a:p>
        </p:txBody>
      </p:sp>
      <p:pic>
        <p:nvPicPr>
          <p:cNvPr id="270342" name="Picture 7" descr="фильм"/>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1384" y="1070805"/>
            <a:ext cx="3168650" cy="237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343" name="Picture 8" descr="фильм-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8049" y="3658808"/>
            <a:ext cx="3167062" cy="237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Прямоугольник 2"/>
          <p:cNvSpPr/>
          <p:nvPr/>
        </p:nvSpPr>
        <p:spPr>
          <a:xfrm>
            <a:off x="1524000" y="20639"/>
            <a:ext cx="8915400" cy="923925"/>
          </a:xfrm>
          <a:prstGeom prst="rect">
            <a:avLst/>
          </a:prstGeom>
        </p:spPr>
        <p:txBody>
          <a:bodyPr>
            <a:spAutoFit/>
          </a:bodyPr>
          <a:lstStyle/>
          <a:p>
            <a:pPr>
              <a:defRPr/>
            </a:pPr>
            <a:r>
              <a:rPr lang="ru-RU" sz="5400" b="1" kern="0" dirty="0">
                <a:solidFill>
                  <a:srgbClr val="C00000"/>
                </a:solidFill>
                <a:latin typeface="Calibri"/>
              </a:rPr>
              <a:t>КЛЕЩЕВОЙ ЭНЦЕФАЛИТ</a:t>
            </a:r>
            <a:endParaRPr lang="ru-RU" kern="0" dirty="0">
              <a:solidFill>
                <a:sysClr val="windowText" lastClr="000000"/>
              </a:solidFill>
            </a:endParaRPr>
          </a:p>
        </p:txBody>
      </p:sp>
    </p:spTree>
    <p:extLst>
      <p:ext uri="{BB962C8B-B14F-4D97-AF65-F5344CB8AC3E}">
        <p14:creationId xmlns:p14="http://schemas.microsoft.com/office/powerpoint/2010/main" val="9548377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6" name="Заголовок 1"/>
          <p:cNvSpPr>
            <a:spLocks noGrp="1"/>
          </p:cNvSpPr>
          <p:nvPr>
            <p:ph type="title"/>
          </p:nvPr>
        </p:nvSpPr>
        <p:spPr>
          <a:xfrm>
            <a:off x="407368" y="1340768"/>
            <a:ext cx="11593288" cy="1143000"/>
          </a:xfrm>
        </p:spPr>
        <p:txBody>
          <a:bodyPr/>
          <a:lstStyle/>
          <a:p>
            <a:pPr indent="228600">
              <a:lnSpc>
                <a:spcPct val="107000"/>
              </a:lnSpc>
            </a:pPr>
            <a:r>
              <a:rPr lang="ru-RU" altLang="ru-RU" sz="2400" b="1" dirty="0">
                <a:solidFill>
                  <a:srgbClr val="FF0000"/>
                </a:solidFill>
                <a:latin typeface="Times New Roman" pitchFamily="18" charset="0"/>
                <a:cs typeface="Times New Roman" pitchFamily="18" charset="0"/>
              </a:rPr>
              <a:t>В Российской Федерации для вакцинации против COVID-19 у взрослых лиц зарегистрированы следующие вакцины: </a:t>
            </a:r>
            <a:r>
              <a:rPr lang="ru-RU" altLang="ru-RU" sz="2000" b="1" dirty="0">
                <a:solidFill>
                  <a:srgbClr val="FF0000"/>
                </a:solidFill>
                <a:latin typeface="Calibri" pitchFamily="34" charset="0"/>
                <a:cs typeface="Times New Roman" pitchFamily="18" charset="0"/>
              </a:rPr>
              <a:t/>
            </a:r>
            <a:br>
              <a:rPr lang="ru-RU" altLang="ru-RU" sz="2000" b="1" dirty="0">
                <a:solidFill>
                  <a:srgbClr val="FF0000"/>
                </a:solidFill>
                <a:latin typeface="Calibri" pitchFamily="34" charset="0"/>
                <a:cs typeface="Times New Roman" pitchFamily="18" charset="0"/>
              </a:rPr>
            </a:br>
            <a:endParaRPr lang="ru-RU" altLang="ru-RU" sz="2000" b="1" dirty="0">
              <a:solidFill>
                <a:srgbClr val="FF0000"/>
              </a:solidFill>
            </a:endParaRPr>
          </a:p>
        </p:txBody>
      </p:sp>
      <p:sp>
        <p:nvSpPr>
          <p:cNvPr id="272387" name="Объект 2"/>
          <p:cNvSpPr>
            <a:spLocks noGrp="1"/>
          </p:cNvSpPr>
          <p:nvPr>
            <p:ph idx="1"/>
          </p:nvPr>
        </p:nvSpPr>
        <p:spPr>
          <a:xfrm>
            <a:off x="191344" y="2132856"/>
            <a:ext cx="11809312" cy="5334000"/>
          </a:xfrm>
        </p:spPr>
        <p:txBody>
          <a:bodyPr/>
          <a:lstStyle/>
          <a:p>
            <a:pPr>
              <a:buSzPts val="1000"/>
              <a:buFont typeface="Symbol" pitchFamily="18" charset="2"/>
              <a:buChar char=""/>
              <a:tabLst>
                <a:tab pos="457200" algn="l"/>
              </a:tabLst>
            </a:pPr>
            <a:r>
              <a:rPr lang="ru-RU" altLang="ru-RU" sz="2400" b="1" dirty="0">
                <a:solidFill>
                  <a:schemeClr val="accent2"/>
                </a:solidFill>
                <a:cs typeface="Times New Roman" pitchFamily="18" charset="0"/>
              </a:rPr>
              <a:t>комбинированная векторная вакцина («Гам-КОВИД-</a:t>
            </a:r>
            <a:r>
              <a:rPr lang="ru-RU" altLang="ru-RU" sz="2400" b="1" dirty="0" err="1">
                <a:solidFill>
                  <a:schemeClr val="accent2"/>
                </a:solidFill>
                <a:cs typeface="Times New Roman" pitchFamily="18" charset="0"/>
              </a:rPr>
              <a:t>Вак</a:t>
            </a:r>
            <a:r>
              <a:rPr lang="ru-RU" altLang="ru-RU" sz="2400" b="1" dirty="0">
                <a:solidFill>
                  <a:schemeClr val="accent2"/>
                </a:solidFill>
                <a:cs typeface="Times New Roman" pitchFamily="18" charset="0"/>
              </a:rPr>
              <a:t>»</a:t>
            </a:r>
            <a:r>
              <a:rPr lang="ru-RU" altLang="ru-RU" sz="2400" b="1" dirty="0">
                <a:solidFill>
                  <a:schemeClr val="accent2"/>
                </a:solidFill>
                <a:cs typeface="Microsoft Sans Serif" pitchFamily="34" charset="0"/>
              </a:rPr>
              <a:t> (Спутник V</a:t>
            </a:r>
            <a:r>
              <a:rPr lang="ru-RU" altLang="ru-RU" sz="2400" b="1" dirty="0" smtClean="0">
                <a:solidFill>
                  <a:schemeClr val="accent2"/>
                </a:solidFill>
                <a:cs typeface="Microsoft Sans Serif" pitchFamily="34" charset="0"/>
              </a:rPr>
              <a:t>)</a:t>
            </a:r>
            <a:r>
              <a:rPr lang="ru-RU" altLang="ru-RU" sz="2400" b="1" dirty="0" smtClean="0">
                <a:solidFill>
                  <a:schemeClr val="accent2"/>
                </a:solidFill>
                <a:cs typeface="Times New Roman" pitchFamily="18" charset="0"/>
              </a:rPr>
              <a:t>)</a:t>
            </a:r>
            <a:r>
              <a:rPr lang="ru-RU" altLang="ru-RU" sz="2400" b="1" dirty="0" smtClean="0">
                <a:cs typeface="Times New Roman" pitchFamily="18" charset="0"/>
              </a:rPr>
              <a:t> </a:t>
            </a:r>
            <a:br>
              <a:rPr lang="ru-RU" altLang="ru-RU" sz="2400" b="1" dirty="0" smtClean="0">
                <a:cs typeface="Times New Roman" pitchFamily="18" charset="0"/>
              </a:rPr>
            </a:br>
            <a:r>
              <a:rPr lang="ru-RU" altLang="ru-RU" sz="2400" b="1" dirty="0" smtClean="0">
                <a:cs typeface="Times New Roman" pitchFamily="18" charset="0"/>
              </a:rPr>
              <a:t>дата </a:t>
            </a:r>
            <a:r>
              <a:rPr lang="ru-RU" altLang="ru-RU" sz="2400" b="1" dirty="0">
                <a:cs typeface="Times New Roman" pitchFamily="18" charset="0"/>
              </a:rPr>
              <a:t>регистрации </a:t>
            </a:r>
            <a:r>
              <a:rPr lang="ru-RU" altLang="ru-RU" sz="2400" b="1" dirty="0" smtClean="0">
                <a:cs typeface="Times New Roman" pitchFamily="18" charset="0"/>
              </a:rPr>
              <a:t>11.08.2020; </a:t>
            </a:r>
            <a:endParaRPr lang="ru-RU" altLang="ru-RU" sz="2400" b="1" dirty="0">
              <a:cs typeface="Times New Roman" pitchFamily="18" charset="0"/>
            </a:endParaRPr>
          </a:p>
          <a:p>
            <a:pPr>
              <a:buSzPts val="1000"/>
              <a:buFont typeface="Symbol" pitchFamily="18" charset="2"/>
              <a:buChar char=""/>
              <a:tabLst>
                <a:tab pos="457200" algn="l"/>
              </a:tabLst>
            </a:pPr>
            <a:r>
              <a:rPr lang="ru-RU" altLang="ru-RU" sz="2400" b="1" dirty="0">
                <a:solidFill>
                  <a:schemeClr val="accent2"/>
                </a:solidFill>
                <a:cs typeface="Times New Roman" pitchFamily="18" charset="0"/>
              </a:rPr>
              <a:t>комбинированная векторная вакцина («Гам-КОВИД-</a:t>
            </a:r>
            <a:r>
              <a:rPr lang="ru-RU" altLang="ru-RU" sz="2400" b="1" dirty="0" err="1">
                <a:solidFill>
                  <a:schemeClr val="accent2"/>
                </a:solidFill>
                <a:cs typeface="Times New Roman" pitchFamily="18" charset="0"/>
              </a:rPr>
              <a:t>Вак</a:t>
            </a:r>
            <a:r>
              <a:rPr lang="ru-RU" altLang="ru-RU" sz="2400" b="1" dirty="0">
                <a:solidFill>
                  <a:schemeClr val="accent2"/>
                </a:solidFill>
                <a:cs typeface="Times New Roman" pitchFamily="18" charset="0"/>
              </a:rPr>
              <a:t>-Лио</a:t>
            </a:r>
            <a:r>
              <a:rPr lang="ru-RU" altLang="ru-RU" sz="2400" b="1" dirty="0" smtClean="0">
                <a:solidFill>
                  <a:schemeClr val="accent2"/>
                </a:solidFill>
                <a:cs typeface="Times New Roman" pitchFamily="18" charset="0"/>
              </a:rPr>
              <a:t>»)</a:t>
            </a:r>
            <a:r>
              <a:rPr lang="ru-RU" altLang="ru-RU" sz="2400" b="1" dirty="0" smtClean="0">
                <a:cs typeface="Times New Roman" pitchFamily="18" charset="0"/>
              </a:rPr>
              <a:t/>
            </a:r>
            <a:br>
              <a:rPr lang="ru-RU" altLang="ru-RU" sz="2400" b="1" dirty="0" smtClean="0">
                <a:cs typeface="Times New Roman" pitchFamily="18" charset="0"/>
              </a:rPr>
            </a:br>
            <a:r>
              <a:rPr lang="ru-RU" altLang="ru-RU" sz="2400" b="1" dirty="0" smtClean="0">
                <a:cs typeface="Times New Roman" pitchFamily="18" charset="0"/>
              </a:rPr>
              <a:t>дата </a:t>
            </a:r>
            <a:r>
              <a:rPr lang="ru-RU" altLang="ru-RU" sz="2400" b="1" dirty="0">
                <a:cs typeface="Times New Roman" pitchFamily="18" charset="0"/>
              </a:rPr>
              <a:t>регистрации </a:t>
            </a:r>
            <a:r>
              <a:rPr lang="ru-RU" altLang="ru-RU" sz="2400" b="1" dirty="0" smtClean="0">
                <a:cs typeface="Times New Roman" pitchFamily="18" charset="0"/>
              </a:rPr>
              <a:t>25.08.2020;</a:t>
            </a:r>
          </a:p>
          <a:p>
            <a:pPr>
              <a:buSzPts val="1000"/>
              <a:buFont typeface="Symbol" pitchFamily="18" charset="2"/>
              <a:buChar char=""/>
              <a:tabLst>
                <a:tab pos="457200" algn="l"/>
              </a:tabLst>
            </a:pPr>
            <a:r>
              <a:rPr lang="ru-RU" altLang="ru-RU" sz="2400" b="1" dirty="0" smtClean="0">
                <a:solidFill>
                  <a:schemeClr val="accent2"/>
                </a:solidFill>
                <a:cs typeface="Times New Roman" pitchFamily="18" charset="0"/>
              </a:rPr>
              <a:t>вакцина на основе пептидных антигенов («</a:t>
            </a:r>
            <a:r>
              <a:rPr lang="ru-RU" altLang="ru-RU" sz="2400" b="1" dirty="0" err="1" smtClean="0">
                <a:solidFill>
                  <a:schemeClr val="accent2"/>
                </a:solidFill>
                <a:cs typeface="Times New Roman" pitchFamily="18" charset="0"/>
              </a:rPr>
              <a:t>ЭпиВакКорона</a:t>
            </a:r>
            <a:r>
              <a:rPr lang="ru-RU" altLang="ru-RU" sz="2400" b="1" dirty="0" smtClean="0">
                <a:solidFill>
                  <a:schemeClr val="accent2"/>
                </a:solidFill>
                <a:cs typeface="Times New Roman" pitchFamily="18" charset="0"/>
              </a:rPr>
              <a:t>») </a:t>
            </a:r>
            <a:br>
              <a:rPr lang="ru-RU" altLang="ru-RU" sz="2400" b="1" dirty="0" smtClean="0">
                <a:solidFill>
                  <a:schemeClr val="accent2"/>
                </a:solidFill>
                <a:cs typeface="Times New Roman" pitchFamily="18" charset="0"/>
              </a:rPr>
            </a:br>
            <a:r>
              <a:rPr lang="ru-RU" altLang="ru-RU" sz="2400" b="1" dirty="0" smtClean="0">
                <a:cs typeface="Times New Roman" pitchFamily="18" charset="0"/>
              </a:rPr>
              <a:t>дата регистрации 13.10.2020;</a:t>
            </a:r>
          </a:p>
          <a:p>
            <a:pPr>
              <a:buSzPts val="1000"/>
              <a:buFont typeface="Symbol" pitchFamily="18" charset="2"/>
              <a:buChar char=""/>
              <a:tabLst>
                <a:tab pos="457200" algn="l"/>
              </a:tabLst>
            </a:pPr>
            <a:r>
              <a:rPr lang="ru-RU" altLang="ru-RU" sz="2400" b="1" dirty="0" smtClean="0">
                <a:solidFill>
                  <a:schemeClr val="accent2"/>
                </a:solidFill>
                <a:cs typeface="Times New Roman" pitchFamily="18" charset="0"/>
              </a:rPr>
              <a:t>вакцина </a:t>
            </a:r>
            <a:r>
              <a:rPr lang="ru-RU" altLang="ru-RU" sz="2400" b="1" dirty="0" err="1">
                <a:solidFill>
                  <a:schemeClr val="accent2"/>
                </a:solidFill>
                <a:cs typeface="Times New Roman" pitchFamily="18" charset="0"/>
              </a:rPr>
              <a:t>коронавирусная</a:t>
            </a:r>
            <a:r>
              <a:rPr lang="ru-RU" altLang="ru-RU" sz="2400" b="1" dirty="0">
                <a:solidFill>
                  <a:schemeClr val="accent2"/>
                </a:solidFill>
                <a:cs typeface="Times New Roman" pitchFamily="18" charset="0"/>
              </a:rPr>
              <a:t> инактивированная </a:t>
            </a:r>
            <a:r>
              <a:rPr lang="ru-RU" altLang="ru-RU" sz="2400" b="1" dirty="0" err="1">
                <a:solidFill>
                  <a:schemeClr val="accent2"/>
                </a:solidFill>
                <a:cs typeface="Times New Roman" pitchFamily="18" charset="0"/>
              </a:rPr>
              <a:t>цельновирионная</a:t>
            </a:r>
            <a:r>
              <a:rPr lang="ru-RU" altLang="ru-RU" sz="2400" b="1" dirty="0">
                <a:solidFill>
                  <a:schemeClr val="accent2"/>
                </a:solidFill>
                <a:cs typeface="Times New Roman" pitchFamily="18" charset="0"/>
              </a:rPr>
              <a:t> концентрированная очищенная («</a:t>
            </a:r>
            <a:r>
              <a:rPr lang="ru-RU" altLang="ru-RU" sz="2400" b="1" dirty="0" err="1">
                <a:solidFill>
                  <a:schemeClr val="accent2"/>
                </a:solidFill>
                <a:cs typeface="Times New Roman" pitchFamily="18" charset="0"/>
              </a:rPr>
              <a:t>КовиВак</a:t>
            </a:r>
            <a:r>
              <a:rPr lang="ru-RU" altLang="ru-RU" sz="2400" b="1" dirty="0">
                <a:solidFill>
                  <a:schemeClr val="accent2"/>
                </a:solidFill>
                <a:cs typeface="Times New Roman" pitchFamily="18" charset="0"/>
              </a:rPr>
              <a:t>»),</a:t>
            </a:r>
            <a:r>
              <a:rPr lang="ru-RU" altLang="ru-RU" sz="2400" b="1" dirty="0">
                <a:solidFill>
                  <a:srgbClr val="FF0000"/>
                </a:solidFill>
                <a:cs typeface="Times New Roman" pitchFamily="18" charset="0"/>
              </a:rPr>
              <a:t> </a:t>
            </a:r>
            <a:r>
              <a:rPr lang="ru-RU" altLang="ru-RU" sz="2400" b="1" dirty="0">
                <a:cs typeface="Times New Roman" pitchFamily="18" charset="0"/>
              </a:rPr>
              <a:t>дата регистрации 19.02.2021 </a:t>
            </a:r>
            <a:endParaRPr lang="ru-RU" altLang="ru-RU" sz="2400" b="1" dirty="0" smtClean="0">
              <a:cs typeface="Times New Roman" pitchFamily="18" charset="0"/>
            </a:endParaRPr>
          </a:p>
          <a:p>
            <a:pPr>
              <a:buSzPts val="1000"/>
              <a:buFont typeface="Symbol" pitchFamily="18" charset="2"/>
              <a:buChar char=""/>
              <a:tabLst>
                <a:tab pos="457200" algn="l"/>
              </a:tabLst>
            </a:pPr>
            <a:r>
              <a:rPr lang="ru-RU" altLang="ru-RU" sz="2400" b="1" dirty="0" smtClean="0">
                <a:solidFill>
                  <a:schemeClr val="accent2"/>
                </a:solidFill>
                <a:cs typeface="Times New Roman" pitchFamily="18" charset="0"/>
              </a:rPr>
              <a:t>вакцина «Спутник </a:t>
            </a:r>
            <a:r>
              <a:rPr lang="ru-RU" altLang="ru-RU" sz="2400" b="1" dirty="0" err="1" smtClean="0">
                <a:solidFill>
                  <a:schemeClr val="accent2"/>
                </a:solidFill>
                <a:cs typeface="Times New Roman" pitchFamily="18" charset="0"/>
              </a:rPr>
              <a:t>Лайт</a:t>
            </a:r>
            <a:r>
              <a:rPr lang="ru-RU" altLang="ru-RU" sz="2400" b="1" dirty="0" smtClean="0">
                <a:solidFill>
                  <a:schemeClr val="accent2"/>
                </a:solidFill>
                <a:cs typeface="Times New Roman" pitchFamily="18" charset="0"/>
              </a:rPr>
              <a:t>»,</a:t>
            </a:r>
            <a:r>
              <a:rPr lang="ru-RU" altLang="ru-RU" sz="2400" b="1" dirty="0" smtClean="0">
                <a:cs typeface="Times New Roman" pitchFamily="18" charset="0"/>
              </a:rPr>
              <a:t> дата регистрации 06.05.2021 </a:t>
            </a:r>
            <a:r>
              <a:rPr lang="ru-RU" altLang="ru-RU" sz="2400" b="1" dirty="0" smtClean="0">
                <a:solidFill>
                  <a:schemeClr val="accent2"/>
                </a:solidFill>
                <a:cs typeface="Times New Roman" pitchFamily="18" charset="0"/>
              </a:rPr>
              <a:t>комбинированная векторная вакцина </a:t>
            </a:r>
            <a:endParaRPr lang="en-US" altLang="ru-RU" sz="2400" b="1" dirty="0" smtClean="0">
              <a:solidFill>
                <a:schemeClr val="accent2"/>
              </a:solidFill>
              <a:cs typeface="Times New Roman" pitchFamily="18" charset="0"/>
            </a:endParaRPr>
          </a:p>
          <a:p>
            <a:pPr>
              <a:buSzPts val="1000"/>
              <a:buFont typeface="Symbol" pitchFamily="18" charset="2"/>
              <a:buChar char=""/>
              <a:tabLst>
                <a:tab pos="457200" algn="l"/>
              </a:tabLst>
            </a:pPr>
            <a:r>
              <a:rPr lang="ru-RU" altLang="ru-RU" sz="2400" b="1" dirty="0" smtClean="0">
                <a:solidFill>
                  <a:schemeClr val="accent2"/>
                </a:solidFill>
                <a:cs typeface="Times New Roman" pitchFamily="18" charset="0"/>
              </a:rPr>
              <a:t>«Гам-КОВИД-</a:t>
            </a:r>
            <a:r>
              <a:rPr lang="ru-RU" altLang="ru-RU" sz="2400" b="1" dirty="0" err="1" smtClean="0">
                <a:solidFill>
                  <a:schemeClr val="accent2"/>
                </a:solidFill>
                <a:cs typeface="Times New Roman" pitchFamily="18" charset="0"/>
              </a:rPr>
              <a:t>Вак</a:t>
            </a:r>
            <a:r>
              <a:rPr lang="ru-RU" altLang="ru-RU" sz="2400" b="1" dirty="0" smtClean="0">
                <a:solidFill>
                  <a:schemeClr val="accent2"/>
                </a:solidFill>
                <a:cs typeface="Times New Roman" pitchFamily="18" charset="0"/>
              </a:rPr>
              <a:t>-М,</a:t>
            </a:r>
            <a:r>
              <a:rPr lang="ru-RU" altLang="ru-RU" sz="2400" b="1" dirty="0" smtClean="0">
                <a:solidFill>
                  <a:srgbClr val="FF0000"/>
                </a:solidFill>
                <a:cs typeface="Times New Roman" pitchFamily="18" charset="0"/>
              </a:rPr>
              <a:t> </a:t>
            </a:r>
            <a:r>
              <a:rPr lang="ru-RU" altLang="ru-RU" sz="2400" b="1" dirty="0">
                <a:solidFill>
                  <a:srgbClr val="000000"/>
                </a:solidFill>
                <a:cs typeface="Times New Roman" pitchFamily="18" charset="0"/>
              </a:rPr>
              <a:t>дата регистрации </a:t>
            </a:r>
            <a:r>
              <a:rPr lang="ru-RU" altLang="ru-RU" sz="2400" b="1" dirty="0" smtClean="0"/>
              <a:t>24.11.2021 </a:t>
            </a:r>
            <a:r>
              <a:rPr lang="ru-RU" altLang="ru-RU" sz="2000" b="1" dirty="0" smtClean="0">
                <a:solidFill>
                  <a:schemeClr val="accent2"/>
                </a:solidFill>
              </a:rPr>
              <a:t>(для </a:t>
            </a:r>
            <a:r>
              <a:rPr lang="ru-RU" altLang="ru-RU" sz="2000" b="1" dirty="0">
                <a:solidFill>
                  <a:schemeClr val="accent2"/>
                </a:solidFill>
              </a:rPr>
              <a:t>детей)</a:t>
            </a:r>
            <a:endParaRPr lang="ru-RU" altLang="ru-RU" sz="2000" b="1" dirty="0">
              <a:solidFill>
                <a:schemeClr val="accent2"/>
              </a:solidFill>
              <a:cs typeface="Times New Roman" pitchFamily="18" charset="0"/>
            </a:endParaRPr>
          </a:p>
          <a:p>
            <a:pPr algn="just">
              <a:buSzPts val="1000"/>
              <a:buFont typeface="Symbol" pitchFamily="18" charset="2"/>
              <a:buChar char=""/>
              <a:tabLst>
                <a:tab pos="457200" algn="l"/>
              </a:tabLst>
            </a:pPr>
            <a:endParaRPr lang="ru-RU" altLang="ru-RU" sz="2400" b="1" dirty="0">
              <a:latin typeface="Times New Roman" pitchFamily="18" charset="0"/>
              <a:cs typeface="Times New Roman" pitchFamily="18" charset="0"/>
            </a:endParaRPr>
          </a:p>
          <a:p>
            <a:pPr algn="just">
              <a:buSzPts val="1000"/>
              <a:buFont typeface="Symbol" pitchFamily="18" charset="2"/>
              <a:buChar char=""/>
              <a:tabLst>
                <a:tab pos="457200" algn="l"/>
              </a:tabLst>
            </a:pPr>
            <a:endParaRPr lang="ru-RU" altLang="ru-RU" sz="2400" b="1" dirty="0">
              <a:latin typeface="Times New Roman" pitchFamily="18" charset="0"/>
              <a:cs typeface="Times New Roman" pitchFamily="18" charset="0"/>
            </a:endParaRPr>
          </a:p>
          <a:p>
            <a:pPr algn="just">
              <a:buSzPts val="1000"/>
              <a:buFont typeface="Symbol" pitchFamily="18" charset="2"/>
              <a:buChar char=""/>
              <a:tabLst>
                <a:tab pos="457200" algn="l"/>
              </a:tabLst>
            </a:pPr>
            <a:endParaRPr lang="ru-RU" altLang="ru-RU" sz="2400" b="1" dirty="0">
              <a:latin typeface="Times New Roman" pitchFamily="18" charset="0"/>
              <a:cs typeface="Times New Roman" pitchFamily="18" charset="0"/>
            </a:endParaRPr>
          </a:p>
          <a:p>
            <a:pPr algn="just">
              <a:buSzPts val="1000"/>
              <a:buFont typeface="Symbol" pitchFamily="18" charset="2"/>
              <a:buChar char=""/>
              <a:tabLst>
                <a:tab pos="457200" algn="l"/>
              </a:tabLst>
            </a:pPr>
            <a:endParaRPr lang="ru-RU" altLang="ru-RU" sz="2400" b="1" dirty="0">
              <a:latin typeface="Times New Roman" pitchFamily="18" charset="0"/>
              <a:cs typeface="Times New Roman" pitchFamily="18" charset="0"/>
            </a:endParaRPr>
          </a:p>
        </p:txBody>
      </p:sp>
      <p:sp>
        <p:nvSpPr>
          <p:cNvPr id="4" name="Rectangle 2"/>
          <p:cNvSpPr txBox="1">
            <a:spLocks noChangeArrowheads="1"/>
          </p:cNvSpPr>
          <p:nvPr/>
        </p:nvSpPr>
        <p:spPr bwMode="auto">
          <a:xfrm>
            <a:off x="695400" y="0"/>
            <a:ext cx="10801200" cy="1221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a:lstStyle>
          <a:p>
            <a:pPr eaLnBrk="1" hangingPunct="1"/>
            <a:r>
              <a:rPr lang="ru-RU" altLang="ru-RU" sz="3200" b="1" i="1" kern="0" dirty="0" smtClean="0">
                <a:solidFill>
                  <a:srgbClr val="CC3300"/>
                </a:solidFill>
              </a:rPr>
              <a:t>Организация  иммунопрофилактики в лечебно-профилактических учреждениях против </a:t>
            </a:r>
            <a:r>
              <a:rPr lang="en-US" altLang="ru-RU" sz="3200" b="1" i="1" kern="0" dirty="0" smtClean="0">
                <a:solidFill>
                  <a:srgbClr val="CC3300"/>
                </a:solidFill>
              </a:rPr>
              <a:t>COVID-19</a:t>
            </a:r>
            <a:endParaRPr lang="ru-RU" altLang="ru-RU" sz="3200" b="1" i="1" kern="0" dirty="0" smtClean="0">
              <a:solidFill>
                <a:srgbClr val="CC3300"/>
              </a:solidFill>
            </a:endParaRPr>
          </a:p>
        </p:txBody>
      </p:sp>
    </p:spTree>
    <p:extLst>
      <p:ext uri="{BB962C8B-B14F-4D97-AF65-F5344CB8AC3E}">
        <p14:creationId xmlns:p14="http://schemas.microsoft.com/office/powerpoint/2010/main" val="215839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0" name="Rectangle 2"/>
          <p:cNvSpPr>
            <a:spLocks noGrp="1"/>
          </p:cNvSpPr>
          <p:nvPr>
            <p:ph type="title" idx="4294967295"/>
          </p:nvPr>
        </p:nvSpPr>
        <p:spPr>
          <a:xfrm>
            <a:off x="1271464" y="548680"/>
            <a:ext cx="9372600" cy="838200"/>
          </a:xfrm>
        </p:spPr>
        <p:txBody>
          <a:bodyPr/>
          <a:lstStyle/>
          <a:p>
            <a:pPr marL="39688"/>
            <a:r>
              <a:rPr lang="ru-RU" altLang="ru-RU" sz="2800" b="1" dirty="0">
                <a:solidFill>
                  <a:srgbClr val="FF0000"/>
                </a:solidFill>
              </a:rPr>
              <a:t>Показатель вакцинации в 2020 </a:t>
            </a:r>
            <a:r>
              <a:rPr lang="ru-RU" altLang="ru-RU" sz="2800" b="1" dirty="0" smtClean="0">
                <a:solidFill>
                  <a:srgbClr val="FF0000"/>
                </a:solidFill>
              </a:rPr>
              <a:t>году</a:t>
            </a:r>
            <a:r>
              <a:rPr lang="ru-RU" altLang="ru-RU" sz="2800" b="1" dirty="0">
                <a:solidFill>
                  <a:srgbClr val="FF0000"/>
                </a:solidFill>
              </a:rPr>
              <a:t/>
            </a:r>
            <a:br>
              <a:rPr lang="ru-RU" altLang="ru-RU" sz="2800" b="1" dirty="0">
                <a:solidFill>
                  <a:srgbClr val="FF0000"/>
                </a:solidFill>
              </a:rPr>
            </a:br>
            <a:r>
              <a:rPr lang="ru-RU" altLang="ru-RU" sz="2800" b="1" dirty="0">
                <a:solidFill>
                  <a:srgbClr val="FF0000"/>
                </a:solidFill>
              </a:rPr>
              <a:t>(по данным </a:t>
            </a:r>
            <a:r>
              <a:rPr lang="ru-RU" altLang="ru-RU" sz="2800" b="1" dirty="0" err="1">
                <a:solidFill>
                  <a:srgbClr val="FF0000"/>
                </a:solidFill>
              </a:rPr>
              <a:t>Роспотребнадзора</a:t>
            </a:r>
            <a:r>
              <a:rPr lang="ru-RU" altLang="ru-RU" sz="2800" b="1" dirty="0">
                <a:solidFill>
                  <a:srgbClr val="FF0000"/>
                </a:solidFill>
              </a:rPr>
              <a:t> ХК) </a:t>
            </a:r>
          </a:p>
        </p:txBody>
      </p:sp>
      <p:graphicFrame>
        <p:nvGraphicFramePr>
          <p:cNvPr id="1614879" name="Group 31">
            <a:extLst>
              <a:ext uri="{FF2B5EF4-FFF2-40B4-BE49-F238E27FC236}"/>
            </a:extLst>
          </p:cNvPr>
          <p:cNvGraphicFramePr>
            <a:graphicFrameLocks noGrp="1"/>
          </p:cNvGraphicFramePr>
          <p:nvPr>
            <p:ph idx="4294967295"/>
            <p:extLst>
              <p:ext uri="{D42A27DB-BD31-4B8C-83A1-F6EECF244321}">
                <p14:modId xmlns:p14="http://schemas.microsoft.com/office/powerpoint/2010/main" val="3609627019"/>
              </p:ext>
            </p:extLst>
          </p:nvPr>
        </p:nvGraphicFramePr>
        <p:xfrm>
          <a:off x="1829593" y="1772816"/>
          <a:ext cx="8532813" cy="1992314"/>
        </p:xfrm>
        <a:graphic>
          <a:graphicData uri="http://schemas.openxmlformats.org/drawingml/2006/table">
            <a:tbl>
              <a:tblPr/>
              <a:tblGrid>
                <a:gridCol w="2141610">
                  <a:extLst>
                    <a:ext uri="{9D8B030D-6E8A-4147-A177-3AD203B41FA5}"/>
                  </a:extLst>
                </a:gridCol>
                <a:gridCol w="6391203">
                  <a:extLst>
                    <a:ext uri="{9D8B030D-6E8A-4147-A177-3AD203B41FA5}"/>
                  </a:extLst>
                </a:gridCol>
              </a:tblGrid>
              <a:tr h="343001">
                <a:tc>
                  <a:txBody>
                    <a:bodyPr/>
                    <a:lstStyle/>
                    <a:p>
                      <a:pPr marL="0" marR="0" lvl="0" indent="0" algn="ctr"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Заболевание</a:t>
                      </a:r>
                    </a:p>
                  </a:txBody>
                  <a:tcPr marL="68583" marR="68583"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endParaRPr kumimoji="0" lang="ru-RU" sz="1800" b="1" i="0" u="none" strike="noStrike" cap="none" normalizeH="0" baseline="0" dirty="0">
                        <a:ln>
                          <a:noFill/>
                        </a:ln>
                        <a:solidFill>
                          <a:schemeClr val="tx1"/>
                        </a:solidFill>
                        <a:effectLst/>
                        <a:latin typeface="+mn-lt"/>
                        <a:cs typeface="Arial" pitchFamily="34" charset="0"/>
                      </a:endParaRPr>
                    </a:p>
                  </a:txBody>
                  <a:tcPr marL="68583" marR="68583"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r h="343001">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Столбняк</a:t>
                      </a:r>
                      <a:r>
                        <a:rPr kumimoji="0" lang="ru-RU" sz="1800" b="1" i="0" u="none" strike="noStrike" cap="none" normalizeH="0" baseline="30000" dirty="0">
                          <a:ln>
                            <a:noFill/>
                          </a:ln>
                          <a:solidFill>
                            <a:schemeClr val="tx1"/>
                          </a:solidFill>
                          <a:effectLst/>
                          <a:latin typeface="+mn-lt"/>
                          <a:cs typeface="Arial" pitchFamily="34" charset="0"/>
                        </a:rPr>
                        <a:t>1</a:t>
                      </a:r>
                    </a:p>
                  </a:txBody>
                  <a:tcPr marL="68583" marR="68583"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smtClean="0">
                          <a:ln>
                            <a:noFill/>
                          </a:ln>
                          <a:solidFill>
                            <a:schemeClr val="tx1"/>
                          </a:solidFill>
                          <a:effectLst/>
                          <a:latin typeface="+mn-lt"/>
                          <a:cs typeface="Arial" pitchFamily="34" charset="0"/>
                        </a:rPr>
                        <a:t> 98%</a:t>
                      </a:r>
                      <a:endParaRPr kumimoji="0" lang="ru-RU" sz="1800" b="1" i="0" u="none" strike="noStrike" cap="none" normalizeH="0" baseline="0" dirty="0">
                        <a:ln>
                          <a:noFill/>
                        </a:ln>
                        <a:solidFill>
                          <a:schemeClr val="tx1"/>
                        </a:solidFill>
                        <a:effectLst/>
                        <a:latin typeface="+mn-lt"/>
                        <a:cs typeface="Arial" pitchFamily="34" charset="0"/>
                      </a:endParaRPr>
                    </a:p>
                  </a:txBody>
                  <a:tcPr marL="68583" marR="68583"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r h="343001">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Дифтерия</a:t>
                      </a:r>
                      <a:r>
                        <a:rPr kumimoji="0" lang="ru-RU" sz="1800" b="1" i="0" u="none" strike="noStrike" cap="none" normalizeH="0" baseline="30000" dirty="0">
                          <a:ln>
                            <a:noFill/>
                          </a:ln>
                          <a:solidFill>
                            <a:schemeClr val="tx1"/>
                          </a:solidFill>
                          <a:effectLst/>
                          <a:latin typeface="+mn-lt"/>
                          <a:cs typeface="Arial" pitchFamily="34" charset="0"/>
                        </a:rPr>
                        <a:t>2</a:t>
                      </a:r>
                    </a:p>
                  </a:txBody>
                  <a:tcPr marL="68583" marR="68583"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smtClean="0">
                          <a:ln>
                            <a:noFill/>
                          </a:ln>
                          <a:solidFill>
                            <a:schemeClr val="tx1"/>
                          </a:solidFill>
                          <a:effectLst/>
                          <a:latin typeface="+mn-lt"/>
                          <a:cs typeface="Arial" pitchFamily="34" charset="0"/>
                        </a:rPr>
                        <a:t>98,9%</a:t>
                      </a:r>
                      <a:endParaRPr kumimoji="0" lang="ru-RU" sz="1800" b="1" i="0" u="none" strike="noStrike" cap="none" normalizeH="0" baseline="0" dirty="0">
                        <a:ln>
                          <a:noFill/>
                        </a:ln>
                        <a:solidFill>
                          <a:schemeClr val="tx1"/>
                        </a:solidFill>
                        <a:effectLst/>
                        <a:latin typeface="+mn-lt"/>
                        <a:cs typeface="Arial" pitchFamily="34" charset="0"/>
                      </a:endParaRPr>
                    </a:p>
                  </a:txBody>
                  <a:tcPr marL="68583" marR="68583"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r h="343001">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Коклюш</a:t>
                      </a:r>
                      <a:r>
                        <a:rPr kumimoji="0" lang="ru-RU" sz="1800" b="1" i="0" u="none" strike="noStrike" cap="none" normalizeH="0" baseline="30000" dirty="0">
                          <a:ln>
                            <a:noFill/>
                          </a:ln>
                          <a:solidFill>
                            <a:schemeClr val="tx1"/>
                          </a:solidFill>
                          <a:effectLst/>
                          <a:latin typeface="+mn-lt"/>
                          <a:cs typeface="Arial" pitchFamily="34" charset="0"/>
                        </a:rPr>
                        <a:t>3</a:t>
                      </a:r>
                    </a:p>
                  </a:txBody>
                  <a:tcPr marL="68583" marR="68583"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smtClean="0">
                          <a:ln>
                            <a:noFill/>
                          </a:ln>
                          <a:solidFill>
                            <a:schemeClr val="tx1"/>
                          </a:solidFill>
                          <a:effectLst/>
                          <a:latin typeface="+mn-lt"/>
                          <a:cs typeface="Arial" pitchFamily="34" charset="0"/>
                        </a:rPr>
                        <a:t>99 %</a:t>
                      </a:r>
                      <a:endParaRPr kumimoji="0" lang="ru-RU" sz="1800" b="1" i="0" u="none" strike="noStrike" cap="none" normalizeH="0" baseline="0" dirty="0">
                        <a:ln>
                          <a:noFill/>
                        </a:ln>
                        <a:solidFill>
                          <a:schemeClr val="tx1"/>
                        </a:solidFill>
                        <a:effectLst/>
                        <a:latin typeface="+mn-lt"/>
                        <a:cs typeface="Arial" pitchFamily="34" charset="0"/>
                      </a:endParaRPr>
                    </a:p>
                  </a:txBody>
                  <a:tcPr marL="68583" marR="68583"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r h="620310">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Полиомиелит</a:t>
                      </a:r>
                      <a:r>
                        <a:rPr kumimoji="0" lang="ru-RU" sz="1800" b="1" i="0" u="none" strike="noStrike" cap="none" normalizeH="0" baseline="30000" dirty="0">
                          <a:ln>
                            <a:noFill/>
                          </a:ln>
                          <a:solidFill>
                            <a:schemeClr val="tx1"/>
                          </a:solidFill>
                          <a:effectLst/>
                          <a:latin typeface="+mn-lt"/>
                          <a:cs typeface="Arial" pitchFamily="34" charset="0"/>
                        </a:rPr>
                        <a:t>4</a:t>
                      </a:r>
                    </a:p>
                  </a:txBody>
                  <a:tcPr marL="68583" marR="68583" marT="34289" marB="3428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smtClean="0">
                          <a:ln>
                            <a:noFill/>
                          </a:ln>
                          <a:solidFill>
                            <a:schemeClr val="tx1"/>
                          </a:solidFill>
                          <a:effectLst/>
                          <a:latin typeface="+mn-lt"/>
                          <a:cs typeface="Arial" pitchFamily="34" charset="0"/>
                        </a:rPr>
                        <a:t>98,9%</a:t>
                      </a:r>
                      <a:endParaRPr kumimoji="0" lang="ru-RU" sz="1800" b="1" i="0" u="none" strike="noStrike" cap="none" normalizeH="0" baseline="0" dirty="0">
                        <a:ln>
                          <a:noFill/>
                        </a:ln>
                        <a:solidFill>
                          <a:schemeClr val="tx1"/>
                        </a:solidFill>
                        <a:effectLst/>
                        <a:latin typeface="+mn-lt"/>
                        <a:cs typeface="Arial" pitchFamily="34" charset="0"/>
                      </a:endParaRPr>
                    </a:p>
                  </a:txBody>
                  <a:tcPr marL="68583" marR="68583" marT="34289" marB="3428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bl>
          </a:graphicData>
        </a:graphic>
      </p:graphicFrame>
      <p:sp>
        <p:nvSpPr>
          <p:cNvPr id="273431" name="Дата 3"/>
          <p:cNvSpPr>
            <a:spLocks noGrp="1"/>
          </p:cNvSpPr>
          <p:nvPr>
            <p:ph type="dt" sz="quarter" idx="10"/>
          </p:nvPr>
        </p:nvSpPr>
        <p:spPr>
          <a:xfrm>
            <a:off x="1752600" y="5410200"/>
            <a:ext cx="8713788" cy="10604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r>
              <a:rPr lang="ru-RU" altLang="ru-RU" sz="1400">
                <a:solidFill>
                  <a:srgbClr val="000000"/>
                </a:solidFill>
              </a:rPr>
              <a:t/>
            </a:r>
            <a:br>
              <a:rPr lang="ru-RU" altLang="ru-RU" sz="1400">
                <a:solidFill>
                  <a:srgbClr val="000000"/>
                </a:solidFill>
              </a:rPr>
            </a:br>
            <a:endParaRPr lang="ru-RU" altLang="ru-RU" sz="1400" baseline="30000">
              <a:solidFill>
                <a:srgbClr val="000000"/>
              </a:solidFill>
            </a:endParaRPr>
          </a:p>
        </p:txBody>
      </p:sp>
      <p:graphicFrame>
        <p:nvGraphicFramePr>
          <p:cNvPr id="2" name="Таблица 1"/>
          <p:cNvGraphicFramePr>
            <a:graphicFrameLocks noGrp="1"/>
          </p:cNvGraphicFramePr>
          <p:nvPr>
            <p:extLst>
              <p:ext uri="{D42A27DB-BD31-4B8C-83A1-F6EECF244321}">
                <p14:modId xmlns:p14="http://schemas.microsoft.com/office/powerpoint/2010/main" val="3333341751"/>
              </p:ext>
            </p:extLst>
          </p:nvPr>
        </p:nvGraphicFramePr>
        <p:xfrm>
          <a:off x="1828800" y="3789040"/>
          <a:ext cx="8534400" cy="2581275"/>
        </p:xfrm>
        <a:graphic>
          <a:graphicData uri="http://schemas.openxmlformats.org/drawingml/2006/table">
            <a:tbl>
              <a:tblPr/>
              <a:tblGrid>
                <a:gridCol w="2133600"/>
                <a:gridCol w="6400800"/>
              </a:tblGrid>
              <a:tr h="391562">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Корь</a:t>
                      </a:r>
                      <a:r>
                        <a:rPr kumimoji="0" lang="ru-RU" sz="2000" b="1" i="0" u="none" strike="noStrike" cap="none" normalizeH="0" baseline="30000" dirty="0">
                          <a:ln>
                            <a:noFill/>
                          </a:ln>
                          <a:solidFill>
                            <a:schemeClr val="tx1"/>
                          </a:solidFill>
                          <a:effectLst/>
                          <a:latin typeface="+mn-lt"/>
                          <a:cs typeface="Arial" pitchFamily="34" charset="0"/>
                        </a:rPr>
                        <a:t>1</a:t>
                      </a:r>
                    </a:p>
                  </a:txBody>
                  <a:tcPr marL="68574" marR="68574" marT="34268" marB="342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smtClean="0">
                          <a:ln>
                            <a:noFill/>
                          </a:ln>
                          <a:solidFill>
                            <a:schemeClr val="tx1"/>
                          </a:solidFill>
                          <a:effectLst/>
                          <a:latin typeface="+mn-lt"/>
                          <a:cs typeface="Arial" pitchFamily="34" charset="0"/>
                        </a:rPr>
                        <a:t>99,5%</a:t>
                      </a:r>
                      <a:endParaRPr kumimoji="0" lang="ru-RU" sz="2000" b="1" i="0" u="none" strike="noStrike" cap="none" normalizeH="0" baseline="0" dirty="0">
                        <a:ln>
                          <a:noFill/>
                        </a:ln>
                        <a:solidFill>
                          <a:schemeClr val="tx1"/>
                        </a:solidFill>
                        <a:effectLst/>
                        <a:latin typeface="+mn-lt"/>
                        <a:cs typeface="Arial" pitchFamily="34" charset="0"/>
                      </a:endParaRPr>
                    </a:p>
                  </a:txBody>
                  <a:tcPr marL="68574" marR="68574" marT="34268" marB="342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90914">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Краснуха</a:t>
                      </a:r>
                      <a:r>
                        <a:rPr kumimoji="0" lang="ru-RU" sz="2000" b="1" i="0" u="none" strike="noStrike" cap="none" normalizeH="0" baseline="30000" dirty="0">
                          <a:ln>
                            <a:noFill/>
                          </a:ln>
                          <a:solidFill>
                            <a:schemeClr val="tx1"/>
                          </a:solidFill>
                          <a:effectLst/>
                          <a:latin typeface="+mn-lt"/>
                          <a:cs typeface="Arial" pitchFamily="34" charset="0"/>
                        </a:rPr>
                        <a:t>2</a:t>
                      </a:r>
                    </a:p>
                  </a:txBody>
                  <a:tcPr marL="68574" marR="68574" marT="34268" marB="342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smtClean="0">
                          <a:ln>
                            <a:noFill/>
                          </a:ln>
                          <a:solidFill>
                            <a:schemeClr val="tx1"/>
                          </a:solidFill>
                          <a:effectLst/>
                          <a:latin typeface="+mn-lt"/>
                          <a:cs typeface="Arial" pitchFamily="34" charset="0"/>
                        </a:rPr>
                        <a:t>99,1%</a:t>
                      </a:r>
                      <a:endParaRPr kumimoji="0" lang="ru-RU" sz="2000" b="1" i="0" u="none" strike="noStrike" cap="none" normalizeH="0" baseline="0" dirty="0">
                        <a:ln>
                          <a:noFill/>
                        </a:ln>
                        <a:solidFill>
                          <a:schemeClr val="tx1"/>
                        </a:solidFill>
                        <a:effectLst/>
                        <a:latin typeface="+mn-lt"/>
                        <a:cs typeface="Arial" pitchFamily="34" charset="0"/>
                      </a:endParaRPr>
                    </a:p>
                  </a:txBody>
                  <a:tcPr marL="68574" marR="68574" marT="34268" marB="342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0783">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Паротит</a:t>
                      </a:r>
                      <a:r>
                        <a:rPr kumimoji="0" lang="en-US" sz="2000" b="1" i="0" u="none" strike="noStrike" cap="none" normalizeH="0" baseline="30000" dirty="0">
                          <a:ln>
                            <a:noFill/>
                          </a:ln>
                          <a:solidFill>
                            <a:schemeClr val="tx1"/>
                          </a:solidFill>
                          <a:effectLst/>
                          <a:latin typeface="+mn-lt"/>
                          <a:cs typeface="Arial" pitchFamily="34" charset="0"/>
                        </a:rPr>
                        <a:t>3</a:t>
                      </a:r>
                      <a:endParaRPr kumimoji="0" lang="ru-RU" sz="2000" b="1" i="0" u="none" strike="noStrike" cap="none" normalizeH="0" baseline="30000" dirty="0">
                        <a:ln>
                          <a:noFill/>
                        </a:ln>
                        <a:solidFill>
                          <a:schemeClr val="tx1"/>
                        </a:solidFill>
                        <a:effectLst/>
                        <a:latin typeface="+mn-lt"/>
                        <a:cs typeface="Arial" pitchFamily="34" charset="0"/>
                      </a:endParaRPr>
                    </a:p>
                  </a:txBody>
                  <a:tcPr marL="68574" marR="68574" marT="34268" marB="342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smtClean="0">
                          <a:ln>
                            <a:noFill/>
                          </a:ln>
                          <a:solidFill>
                            <a:schemeClr val="tx1"/>
                          </a:solidFill>
                          <a:effectLst/>
                          <a:latin typeface="+mn-lt"/>
                          <a:cs typeface="Arial" pitchFamily="34" charset="0"/>
                        </a:rPr>
                        <a:t>99%</a:t>
                      </a:r>
                      <a:endParaRPr kumimoji="0" lang="ru-RU" sz="2000" b="1" i="0" u="none" strike="noStrike" cap="none" normalizeH="0" baseline="0" dirty="0">
                        <a:ln>
                          <a:noFill/>
                        </a:ln>
                        <a:solidFill>
                          <a:schemeClr val="tx1"/>
                        </a:solidFill>
                        <a:effectLst/>
                        <a:latin typeface="+mn-lt"/>
                        <a:cs typeface="Arial" pitchFamily="34" charset="0"/>
                      </a:endParaRPr>
                    </a:p>
                  </a:txBody>
                  <a:tcPr marL="68574" marR="68574" marT="34268" marB="342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3335">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Гепатит </a:t>
                      </a:r>
                      <a:r>
                        <a:rPr kumimoji="0" lang="ru-RU" sz="2000" b="1" i="0" u="none" strike="noStrike" cap="none" normalizeH="0" baseline="0" dirty="0" smtClean="0">
                          <a:ln>
                            <a:noFill/>
                          </a:ln>
                          <a:solidFill>
                            <a:schemeClr val="tx1"/>
                          </a:solidFill>
                          <a:effectLst/>
                          <a:latin typeface="+mn-lt"/>
                          <a:cs typeface="Arial" pitchFamily="34" charset="0"/>
                        </a:rPr>
                        <a:t>В</a:t>
                      </a:r>
                      <a:endParaRPr kumimoji="0" lang="ru-RU" sz="2000" b="1" i="0" u="none" strike="noStrike" cap="none" normalizeH="0" baseline="30000" dirty="0">
                        <a:ln>
                          <a:noFill/>
                        </a:ln>
                        <a:solidFill>
                          <a:schemeClr val="tx1"/>
                        </a:solidFill>
                        <a:effectLst/>
                        <a:latin typeface="+mn-lt"/>
                        <a:cs typeface="Arial" pitchFamily="34" charset="0"/>
                      </a:endParaRPr>
                    </a:p>
                  </a:txBody>
                  <a:tcPr marL="68574" marR="68574" marT="34268" marB="342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smtClean="0">
                          <a:ln>
                            <a:noFill/>
                          </a:ln>
                          <a:solidFill>
                            <a:schemeClr val="tx1"/>
                          </a:solidFill>
                          <a:effectLst/>
                          <a:latin typeface="+mn-lt"/>
                          <a:cs typeface="Arial" pitchFamily="34" charset="0"/>
                        </a:rPr>
                        <a:t>99,5%</a:t>
                      </a:r>
                      <a:endParaRPr kumimoji="0" lang="ru-RU" sz="2000" b="1" i="0" u="none" strike="noStrike" cap="none" normalizeH="0" baseline="0" dirty="0">
                        <a:ln>
                          <a:noFill/>
                        </a:ln>
                        <a:solidFill>
                          <a:schemeClr val="tx1"/>
                        </a:solidFill>
                        <a:effectLst/>
                        <a:latin typeface="+mn-lt"/>
                        <a:cs typeface="Arial" pitchFamily="34" charset="0"/>
                      </a:endParaRPr>
                    </a:p>
                  </a:txBody>
                  <a:tcPr marL="68574" marR="68574" marT="34268" marB="342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4680">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smtClean="0">
                          <a:ln>
                            <a:noFill/>
                          </a:ln>
                          <a:solidFill>
                            <a:schemeClr val="tx1"/>
                          </a:solidFill>
                          <a:effectLst/>
                          <a:latin typeface="+mn-lt"/>
                          <a:cs typeface="Arial" pitchFamily="34" charset="0"/>
                        </a:rPr>
                        <a:t>Пневмококк </a:t>
                      </a:r>
                      <a:r>
                        <a:rPr kumimoji="0" lang="ru-RU" sz="2000" b="1" i="0" u="none" strike="noStrike" cap="none" normalizeH="0" baseline="0" dirty="0">
                          <a:ln>
                            <a:noFill/>
                          </a:ln>
                          <a:solidFill>
                            <a:schemeClr val="tx1"/>
                          </a:solidFill>
                          <a:effectLst/>
                          <a:latin typeface="+mn-lt"/>
                          <a:cs typeface="Arial" pitchFamily="34" charset="0"/>
                        </a:rPr>
                        <a:t>и ХИБ </a:t>
                      </a:r>
                    </a:p>
                  </a:txBody>
                  <a:tcPr marL="68574" marR="68574" marT="34268" marB="3426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smtClean="0">
                          <a:ln>
                            <a:noFill/>
                          </a:ln>
                          <a:solidFill>
                            <a:schemeClr val="tx1"/>
                          </a:solidFill>
                          <a:effectLst/>
                          <a:latin typeface="+mn-lt"/>
                          <a:cs typeface="Arial" pitchFamily="34" charset="0"/>
                        </a:rPr>
                        <a:t>98% и 100% соответственно</a:t>
                      </a:r>
                      <a:endParaRPr kumimoji="0" lang="ru-RU" sz="2000" b="1" i="0" u="none" strike="noStrike" cap="none" normalizeH="0" baseline="0" dirty="0">
                        <a:ln>
                          <a:noFill/>
                        </a:ln>
                        <a:solidFill>
                          <a:schemeClr val="tx1"/>
                        </a:solidFill>
                        <a:effectLst/>
                        <a:latin typeface="+mn-lt"/>
                        <a:cs typeface="Arial" pitchFamily="34" charset="0"/>
                      </a:endParaRPr>
                    </a:p>
                  </a:txBody>
                  <a:tcPr marL="68574" marR="68574" marT="34268" marB="3426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555889090"/>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4434" name="Объект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33589" y="1"/>
            <a:ext cx="8137525"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74435" name="Диаграмма 3"/>
          <p:cNvGraphicFramePr>
            <a:graphicFrameLocks/>
          </p:cNvGraphicFramePr>
          <p:nvPr/>
        </p:nvGraphicFramePr>
        <p:xfrm>
          <a:off x="1473201" y="1031876"/>
          <a:ext cx="4695825" cy="2962275"/>
        </p:xfrm>
        <a:graphic>
          <a:graphicData uri="http://schemas.openxmlformats.org/presentationml/2006/ole">
            <mc:AlternateContent xmlns:mc="http://schemas.openxmlformats.org/markup-compatibility/2006">
              <mc:Choice xmlns:v="urn:schemas-microsoft-com:vml" Requires="v">
                <p:oleObj spid="_x0000_s4110" r:id="rId4" imgW="4694327" imgH="2962913" progId="Excel.Chart.8">
                  <p:embed/>
                </p:oleObj>
              </mc:Choice>
              <mc:Fallback>
                <p:oleObj r:id="rId4" imgW="4694327" imgH="2962913" progId="Excel.Char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3201" y="1031876"/>
                        <a:ext cx="4695825" cy="296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Прямоугольник 4"/>
          <p:cNvSpPr/>
          <p:nvPr/>
        </p:nvSpPr>
        <p:spPr>
          <a:xfrm>
            <a:off x="3149600" y="1228725"/>
            <a:ext cx="1092200" cy="400050"/>
          </a:xfrm>
          <a:prstGeom prst="rect">
            <a:avLst/>
          </a:prstGeom>
        </p:spPr>
        <p:txBody>
          <a:bodyPr wrap="none">
            <a:spAutoFit/>
          </a:bodyPr>
          <a:lstStyle/>
          <a:p>
            <a:pPr>
              <a:defRPr/>
            </a:pPr>
            <a:r>
              <a:rPr lang="ru-RU" altLang="ru-RU" sz="2000" b="1" dirty="0">
                <a:solidFill>
                  <a:srgbClr val="C00000"/>
                </a:solidFill>
                <a:latin typeface="Arial Narrow" panose="020B0606020202030204" pitchFamily="34" charset="0"/>
                <a:cs typeface="Times New Roman" pitchFamily="18" charset="0"/>
              </a:rPr>
              <a:t>Коклюш </a:t>
            </a:r>
            <a:endParaRPr lang="ru-RU" sz="2000" dirty="0">
              <a:solidFill>
                <a:srgbClr val="C00000"/>
              </a:solidFill>
              <a:latin typeface="Arial Narrow" panose="020B0606020202030204" pitchFamily="34" charset="0"/>
              <a:cs typeface="Arial" pitchFamily="34" charset="0"/>
            </a:endParaRPr>
          </a:p>
        </p:txBody>
      </p:sp>
      <p:graphicFrame>
        <p:nvGraphicFramePr>
          <p:cNvPr id="274437" name="Диаграмма 5"/>
          <p:cNvGraphicFramePr>
            <a:graphicFrameLocks/>
          </p:cNvGraphicFramePr>
          <p:nvPr/>
        </p:nvGraphicFramePr>
        <p:xfrm>
          <a:off x="6186489" y="1443039"/>
          <a:ext cx="4529137" cy="2541587"/>
        </p:xfrm>
        <a:graphic>
          <a:graphicData uri="http://schemas.openxmlformats.org/presentationml/2006/ole">
            <mc:AlternateContent xmlns:mc="http://schemas.openxmlformats.org/markup-compatibility/2006">
              <mc:Choice xmlns:v="urn:schemas-microsoft-com:vml" Requires="v">
                <p:oleObj spid="_x0000_s4111" r:id="rId6" imgW="4529721" imgH="2542252" progId="Excel.Chart.8">
                  <p:embed/>
                </p:oleObj>
              </mc:Choice>
              <mc:Fallback>
                <p:oleObj r:id="rId6" imgW="4529721" imgH="2542252" progId="Excel.Chart.8">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86489" y="1443039"/>
                        <a:ext cx="4529137"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4438" name="Прямоугольник 6"/>
          <p:cNvSpPr>
            <a:spLocks noChangeArrowheads="1"/>
          </p:cNvSpPr>
          <p:nvPr/>
        </p:nvSpPr>
        <p:spPr bwMode="auto">
          <a:xfrm>
            <a:off x="7751764" y="1125538"/>
            <a:ext cx="11525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ru-RU" altLang="ru-RU" sz="2000" b="1">
                <a:solidFill>
                  <a:srgbClr val="C00000"/>
                </a:solidFill>
                <a:latin typeface="Arial Narrow" pitchFamily="34" charset="0"/>
                <a:cs typeface="Times New Roman" pitchFamily="18" charset="0"/>
              </a:rPr>
              <a:t>Краснуха</a:t>
            </a:r>
            <a:endParaRPr lang="en-US" altLang="ru-RU" sz="2000" b="1">
              <a:solidFill>
                <a:srgbClr val="C00000"/>
              </a:solidFill>
              <a:latin typeface="Arial Narrow" pitchFamily="34" charset="0"/>
              <a:cs typeface="Times New Roman" pitchFamily="18" charset="0"/>
            </a:endParaRPr>
          </a:p>
        </p:txBody>
      </p:sp>
      <p:graphicFrame>
        <p:nvGraphicFramePr>
          <p:cNvPr id="274439" name="Диаграмма 7"/>
          <p:cNvGraphicFramePr>
            <a:graphicFrameLocks/>
          </p:cNvGraphicFramePr>
          <p:nvPr/>
        </p:nvGraphicFramePr>
        <p:xfrm>
          <a:off x="6149975" y="3938588"/>
          <a:ext cx="4565650" cy="2349500"/>
        </p:xfrm>
        <a:graphic>
          <a:graphicData uri="http://schemas.openxmlformats.org/presentationml/2006/ole">
            <mc:AlternateContent xmlns:mc="http://schemas.openxmlformats.org/markup-compatibility/2006">
              <mc:Choice xmlns:v="urn:schemas-microsoft-com:vml" Requires="v">
                <p:oleObj spid="_x0000_s4112" r:id="rId8" imgW="4566300" imgH="2353260" progId="Excel.Chart.8">
                  <p:embed/>
                </p:oleObj>
              </mc:Choice>
              <mc:Fallback>
                <p:oleObj r:id="rId8" imgW="4566300" imgH="2353260" progId="Excel.Chart.8">
                  <p:embed/>
                  <p:pic>
                    <p:nvPicPr>
                      <p:cNvPr id="0" name=""/>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49975" y="3938588"/>
                        <a:ext cx="4565650" cy="234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4440" name="Прямоугольник 8"/>
          <p:cNvSpPr>
            <a:spLocks noChangeArrowheads="1"/>
          </p:cNvSpPr>
          <p:nvPr/>
        </p:nvSpPr>
        <p:spPr bwMode="auto">
          <a:xfrm>
            <a:off x="7272339" y="3716339"/>
            <a:ext cx="21113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just" fontAlgn="base">
              <a:spcBef>
                <a:spcPct val="0"/>
              </a:spcBef>
              <a:spcAft>
                <a:spcPct val="0"/>
              </a:spcAft>
            </a:pPr>
            <a:r>
              <a:rPr lang="ru-RU" altLang="ru-RU" b="1">
                <a:solidFill>
                  <a:srgbClr val="C00000"/>
                </a:solidFill>
                <a:latin typeface="Arial Narrow" pitchFamily="34" charset="0"/>
                <a:ea typeface="Droid Sans Fallback"/>
                <a:cs typeface="Times New Roman" pitchFamily="18" charset="0"/>
              </a:rPr>
              <a:t>Вирусный гепатит В</a:t>
            </a:r>
          </a:p>
        </p:txBody>
      </p:sp>
      <p:graphicFrame>
        <p:nvGraphicFramePr>
          <p:cNvPr id="10" name="Shape"/>
          <p:cNvGraphicFramePr>
            <a:graphicFrameLocks noGrp="1"/>
          </p:cNvGraphicFramePr>
          <p:nvPr/>
        </p:nvGraphicFramePr>
        <p:xfrm>
          <a:off x="1524000" y="4284998"/>
          <a:ext cx="4403824" cy="2599268"/>
        </p:xfrm>
        <a:graphic>
          <a:graphicData uri="http://schemas.openxmlformats.org/drawingml/2006/chart">
            <c:chart xmlns:c="http://schemas.openxmlformats.org/drawingml/2006/chart" xmlns:r="http://schemas.openxmlformats.org/officeDocument/2006/relationships" r:id="rId10"/>
          </a:graphicData>
        </a:graphic>
      </p:graphicFrame>
      <p:sp>
        <p:nvSpPr>
          <p:cNvPr id="11" name="Прямоугольник 10"/>
          <p:cNvSpPr/>
          <p:nvPr/>
        </p:nvSpPr>
        <p:spPr>
          <a:xfrm>
            <a:off x="2427289" y="3943350"/>
            <a:ext cx="2738437" cy="400050"/>
          </a:xfrm>
          <a:prstGeom prst="rect">
            <a:avLst/>
          </a:prstGeom>
        </p:spPr>
        <p:txBody>
          <a:bodyPr wrap="none">
            <a:spAutoFit/>
          </a:bodyPr>
          <a:lstStyle/>
          <a:p>
            <a:pPr>
              <a:defRPr/>
            </a:pPr>
            <a:r>
              <a:rPr lang="ru-RU" sz="2000" b="1" dirty="0">
                <a:solidFill>
                  <a:srgbClr val="C00000"/>
                </a:solidFill>
                <a:latin typeface="Arial Narrow" panose="020B0606020202030204" pitchFamily="34" charset="0"/>
                <a:cs typeface="Arial" pitchFamily="34" charset="0"/>
              </a:rPr>
              <a:t>Эпидемический паротит</a:t>
            </a:r>
          </a:p>
        </p:txBody>
      </p:sp>
      <p:sp>
        <p:nvSpPr>
          <p:cNvPr id="12" name="Прямоугольник 11"/>
          <p:cNvSpPr/>
          <p:nvPr/>
        </p:nvSpPr>
        <p:spPr>
          <a:xfrm>
            <a:off x="1774826" y="549275"/>
            <a:ext cx="8785225" cy="400050"/>
          </a:xfrm>
          <a:prstGeom prst="rect">
            <a:avLst/>
          </a:prstGeom>
        </p:spPr>
        <p:txBody>
          <a:bodyPr>
            <a:spAutoFit/>
          </a:bodyPr>
          <a:lstStyle/>
          <a:p>
            <a:pPr>
              <a:defRPr/>
            </a:pPr>
            <a:r>
              <a:rPr lang="ru-RU" sz="2000" b="1" dirty="0">
                <a:solidFill>
                  <a:srgbClr val="002060"/>
                </a:solidFill>
                <a:latin typeface="Arial Narrow" panose="020B0606020202030204" pitchFamily="34" charset="0"/>
                <a:cs typeface="Arial" pitchFamily="34" charset="0"/>
              </a:rPr>
              <a:t>Динамика заболеваемости </a:t>
            </a:r>
            <a:r>
              <a:rPr lang="ru-RU" sz="2000" b="1" dirty="0" err="1">
                <a:solidFill>
                  <a:srgbClr val="002060"/>
                </a:solidFill>
                <a:latin typeface="Arial Narrow" panose="020B0606020202030204" pitchFamily="34" charset="0"/>
                <a:cs typeface="Arial" pitchFamily="34" charset="0"/>
              </a:rPr>
              <a:t>вакциноуправляемыми</a:t>
            </a:r>
            <a:r>
              <a:rPr lang="ru-RU" sz="2000" b="1" dirty="0">
                <a:solidFill>
                  <a:srgbClr val="002060"/>
                </a:solidFill>
                <a:latin typeface="Arial Narrow" panose="020B0606020202030204" pitchFamily="34" charset="0"/>
                <a:cs typeface="Arial" pitchFamily="34" charset="0"/>
              </a:rPr>
              <a:t> инфекциями (100 тыс. нас.)</a:t>
            </a:r>
          </a:p>
        </p:txBody>
      </p:sp>
    </p:spTree>
    <p:extLst>
      <p:ext uri="{BB962C8B-B14F-4D97-AF65-F5344CB8AC3E}">
        <p14:creationId xmlns:p14="http://schemas.microsoft.com/office/powerpoint/2010/main" val="29211137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Заголовок 2"/>
          <p:cNvSpPr>
            <a:spLocks noGrp="1"/>
          </p:cNvSpPr>
          <p:nvPr>
            <p:ph type="title"/>
          </p:nvPr>
        </p:nvSpPr>
        <p:spPr>
          <a:xfrm>
            <a:off x="609600" y="260648"/>
            <a:ext cx="10972800" cy="1143000"/>
          </a:xfrm>
        </p:spPr>
        <p:txBody>
          <a:bodyPr/>
          <a:lstStyle/>
          <a:p>
            <a:r>
              <a:rPr lang="ru-RU" altLang="ru-RU" smtClean="0">
                <a:solidFill>
                  <a:srgbClr val="FF0000"/>
                </a:solidFill>
              </a:rPr>
              <a:t>«Декада вакцин»</a:t>
            </a:r>
          </a:p>
        </p:txBody>
      </p:sp>
      <p:sp>
        <p:nvSpPr>
          <p:cNvPr id="8195" name="Содержимое 3"/>
          <p:cNvSpPr>
            <a:spLocks noGrp="1"/>
          </p:cNvSpPr>
          <p:nvPr>
            <p:ph idx="1"/>
          </p:nvPr>
        </p:nvSpPr>
        <p:spPr>
          <a:xfrm>
            <a:off x="609600" y="1143001"/>
            <a:ext cx="11031016" cy="4525963"/>
          </a:xfrm>
        </p:spPr>
        <p:txBody>
          <a:bodyPr/>
          <a:lstStyle/>
          <a:p>
            <a:pPr algn="ctr">
              <a:defRPr/>
            </a:pPr>
            <a:r>
              <a:rPr lang="ru-RU" dirty="0" smtClean="0">
                <a:solidFill>
                  <a:schemeClr val="accent2"/>
                </a:solidFill>
              </a:rPr>
              <a:t>Последнее десятилетие ВОЗ объявила десятилетием вакцин, </a:t>
            </a:r>
            <a:r>
              <a:rPr lang="ru-RU" dirty="0" smtClean="0">
                <a:solidFill>
                  <a:schemeClr val="accent2"/>
                </a:solidFill>
              </a:rPr>
              <a:t/>
            </a:r>
            <a:br>
              <a:rPr lang="ru-RU" dirty="0" smtClean="0">
                <a:solidFill>
                  <a:schemeClr val="accent2"/>
                </a:solidFill>
              </a:rPr>
            </a:br>
            <a:r>
              <a:rPr lang="ru-RU" sz="2800" b="1" dirty="0" smtClean="0">
                <a:solidFill>
                  <a:srgbClr val="C00000"/>
                </a:solidFill>
              </a:rPr>
              <a:t>обозначив </a:t>
            </a:r>
            <a:r>
              <a:rPr lang="ru-RU" sz="2800" b="1" dirty="0">
                <a:solidFill>
                  <a:srgbClr val="C00000"/>
                </a:solidFill>
              </a:rPr>
              <a:t>цель – снижение смертности, инвалидности и  заболеваемости  </a:t>
            </a:r>
            <a:r>
              <a:rPr lang="ru-RU" sz="2800" b="1" dirty="0" smtClean="0">
                <a:solidFill>
                  <a:srgbClr val="C00000"/>
                </a:solidFill>
              </a:rPr>
              <a:t>от </a:t>
            </a:r>
            <a:r>
              <a:rPr lang="ru-RU" sz="2800" b="1" dirty="0" err="1">
                <a:solidFill>
                  <a:srgbClr val="C00000"/>
                </a:solidFill>
              </a:rPr>
              <a:t>вакцинопредотвратимых</a:t>
            </a:r>
            <a:r>
              <a:rPr lang="ru-RU" sz="2800" b="1" dirty="0">
                <a:solidFill>
                  <a:srgbClr val="C00000"/>
                </a:solidFill>
              </a:rPr>
              <a:t> заболеваний  путем расширения календарей прививок стран мира и увеличения охвата вакцинацией. </a:t>
            </a:r>
            <a:r>
              <a:rPr lang="ru-RU" sz="2800" b="1" dirty="0" smtClean="0">
                <a:solidFill>
                  <a:srgbClr val="C00000"/>
                </a:solidFill>
              </a:rPr>
              <a:t/>
            </a:r>
            <a:br>
              <a:rPr lang="ru-RU" sz="2800" b="1" dirty="0" smtClean="0">
                <a:solidFill>
                  <a:srgbClr val="C00000"/>
                </a:solidFill>
              </a:rPr>
            </a:br>
            <a:r>
              <a:rPr lang="ru-RU" sz="2800" b="1" kern="1200" dirty="0" smtClean="0">
                <a:solidFill>
                  <a:srgbClr val="FF0000"/>
                </a:solidFill>
                <a:latin typeface="Times New Roman"/>
              </a:rPr>
              <a:t>Приоритет </a:t>
            </a:r>
            <a:r>
              <a:rPr lang="ru-RU" sz="2800" b="1" kern="1200" dirty="0">
                <a:solidFill>
                  <a:srgbClr val="FF0000"/>
                </a:solidFill>
                <a:latin typeface="Times New Roman"/>
              </a:rPr>
              <a:t>профилактики в сфере охраны здоровья обеспечивается путем осуществления мероприятий по предупреждению </a:t>
            </a:r>
            <a:r>
              <a:rPr lang="ru-RU" sz="2800" b="1" kern="1200" dirty="0">
                <a:solidFill>
                  <a:srgbClr val="FF0000"/>
                </a:solidFill>
                <a:latin typeface="Times New Roman"/>
              </a:rPr>
              <a:t>заболеваний</a:t>
            </a:r>
            <a:r>
              <a:rPr lang="ru-RU" sz="2400" b="1" kern="1200" dirty="0">
                <a:solidFill>
                  <a:srgbClr val="FF0000"/>
                </a:solidFill>
                <a:latin typeface="Times New Roman"/>
              </a:rPr>
              <a:t> </a:t>
            </a:r>
            <a:r>
              <a:rPr lang="ru-RU" sz="2400" b="1" kern="1200" dirty="0" smtClean="0">
                <a:solidFill>
                  <a:srgbClr val="FF0000"/>
                </a:solidFill>
                <a:latin typeface="Times New Roman"/>
              </a:rPr>
              <a:t/>
            </a:r>
            <a:br>
              <a:rPr lang="ru-RU" sz="2400" b="1" kern="1200" dirty="0" smtClean="0">
                <a:solidFill>
                  <a:srgbClr val="FF0000"/>
                </a:solidFill>
                <a:latin typeface="Times New Roman"/>
              </a:rPr>
            </a:br>
            <a:r>
              <a:rPr lang="ru-RU" sz="2400" kern="1200" dirty="0" smtClean="0">
                <a:solidFill>
                  <a:srgbClr val="C00000"/>
                </a:solidFill>
                <a:latin typeface="Times New Roman"/>
              </a:rPr>
              <a:t>(</a:t>
            </a:r>
            <a:r>
              <a:rPr lang="ru-RU" sz="2400" b="1" kern="1200" dirty="0">
                <a:solidFill>
                  <a:srgbClr val="C00000"/>
                </a:solidFill>
                <a:latin typeface="Times New Roman"/>
              </a:rPr>
              <a:t>ФЗ «Об основах охраны здоровья…», ст.12, п. </a:t>
            </a:r>
            <a:r>
              <a:rPr lang="ru-RU" sz="2400" b="1" kern="1200" dirty="0">
                <a:solidFill>
                  <a:srgbClr val="C00000"/>
                </a:solidFill>
                <a:latin typeface="Times New Roman"/>
              </a:rPr>
              <a:t>3).</a:t>
            </a:r>
            <a:endParaRPr lang="ru-RU" b="1" dirty="0" smtClean="0">
              <a:solidFill>
                <a:srgbClr val="C00000"/>
              </a:solidFill>
            </a:endParaRPr>
          </a:p>
        </p:txBody>
      </p:sp>
    </p:spTree>
    <p:extLst>
      <p:ext uri="{BB962C8B-B14F-4D97-AF65-F5344CB8AC3E}">
        <p14:creationId xmlns:p14="http://schemas.microsoft.com/office/powerpoint/2010/main" val="6638080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8" name="Rectangle 2"/>
          <p:cNvSpPr>
            <a:spLocks noGrp="1" noRot="1" noChangeArrowheads="1"/>
          </p:cNvSpPr>
          <p:nvPr>
            <p:ph idx="4294967295"/>
          </p:nvPr>
        </p:nvSpPr>
        <p:spPr>
          <a:xfrm>
            <a:off x="3727450" y="1357313"/>
            <a:ext cx="6940550" cy="4191000"/>
          </a:xfrm>
        </p:spPr>
        <p:txBody>
          <a:bodyPr/>
          <a:lstStyle/>
          <a:p>
            <a:pPr marL="273050" indent="-273050" eaLnBrk="1" hangingPunct="1">
              <a:buNone/>
            </a:pPr>
            <a:endParaRPr lang="ru-RU" altLang="ru-RU" dirty="0" smtClean="0"/>
          </a:p>
          <a:p>
            <a:pPr marL="273050" indent="-273050" eaLnBrk="1" hangingPunct="1">
              <a:buNone/>
            </a:pPr>
            <a:endParaRPr lang="ru-RU" altLang="ru-RU" dirty="0" smtClean="0"/>
          </a:p>
        </p:txBody>
      </p:sp>
      <p:pic>
        <p:nvPicPr>
          <p:cNvPr id="275459" name="Picture 3" descr="http://im0-tub.mail.ru/i?id=30566393&amp;tov=0">
            <a:hlinkClick r:id="rId2"/>
          </p:cNvPr>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3272805" y="216695"/>
            <a:ext cx="2819400" cy="188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460" name="Picture 4" descr="http://im4-tub.mail.ru/i?id=11094067&amp;tov=4">
            <a:hlinkClick r:id="rId5"/>
          </p:cNvPr>
          <p:cNvPicPr>
            <a:picLocks noChangeAspect="1" noChangeArrowheads="1"/>
          </p:cNvPicPr>
          <p:nvPr/>
        </p:nvPicPr>
        <p:blipFill>
          <a:blip r:embed="rId6" r:link="rId7">
            <a:extLst>
              <a:ext uri="{28A0092B-C50C-407E-A947-70E740481C1C}">
                <a14:useLocalDpi xmlns:a14="http://schemas.microsoft.com/office/drawing/2010/main" val="0"/>
              </a:ext>
            </a:extLst>
          </a:blip>
          <a:srcRect/>
          <a:stretch>
            <a:fillRect/>
          </a:stretch>
        </p:blipFill>
        <p:spPr bwMode="auto">
          <a:xfrm>
            <a:off x="542926" y="752475"/>
            <a:ext cx="2071687"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5461" name="Rectangle 5"/>
          <p:cNvSpPr>
            <a:spLocks noChangeArrowheads="1"/>
          </p:cNvSpPr>
          <p:nvPr/>
        </p:nvSpPr>
        <p:spPr bwMode="auto">
          <a:xfrm>
            <a:off x="1524000" y="-200025"/>
            <a:ext cx="1841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fontAlgn="base">
              <a:spcBef>
                <a:spcPct val="0"/>
              </a:spcBef>
              <a:spcAft>
                <a:spcPct val="0"/>
              </a:spcAft>
            </a:pPr>
            <a:endParaRPr lang="ru-RU" altLang="ru-RU" sz="2000">
              <a:solidFill>
                <a:srgbClr val="000000"/>
              </a:solidFill>
            </a:endParaRPr>
          </a:p>
        </p:txBody>
      </p:sp>
      <p:sp>
        <p:nvSpPr>
          <p:cNvPr id="275462" name="Rectangle 6"/>
          <p:cNvSpPr>
            <a:spLocks noChangeArrowheads="1"/>
          </p:cNvSpPr>
          <p:nvPr/>
        </p:nvSpPr>
        <p:spPr bwMode="auto">
          <a:xfrm>
            <a:off x="1524000" y="628650"/>
            <a:ext cx="1841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fontAlgn="base">
              <a:spcBef>
                <a:spcPct val="0"/>
              </a:spcBef>
              <a:spcAft>
                <a:spcPct val="0"/>
              </a:spcAft>
            </a:pPr>
            <a:endParaRPr lang="ru-RU" altLang="ru-RU" sz="2000">
              <a:solidFill>
                <a:srgbClr val="000000"/>
              </a:solidFill>
            </a:endParaRPr>
          </a:p>
        </p:txBody>
      </p:sp>
      <p:sp>
        <p:nvSpPr>
          <p:cNvPr id="214023" name="Rectangle 7"/>
          <p:cNvSpPr>
            <a:spLocks noChangeArrowheads="1"/>
          </p:cNvSpPr>
          <p:nvPr/>
        </p:nvSpPr>
        <p:spPr bwMode="auto">
          <a:xfrm>
            <a:off x="3919843" y="2202636"/>
            <a:ext cx="7759178" cy="2369880"/>
          </a:xfrm>
          <a:prstGeom prst="rect">
            <a:avLst/>
          </a:prstGeom>
          <a:noFill/>
          <a:ln w="9525">
            <a:noFill/>
            <a:miter lim="800000"/>
            <a:headEnd/>
            <a:tailEnd/>
          </a:ln>
          <a:effectLst/>
        </p:spPr>
        <p:txBody>
          <a:bodyPr wrap="square">
            <a:spAutoFit/>
          </a:bodyPr>
          <a:lstStyle/>
          <a:p>
            <a:pPr algn="ctr" fontAlgn="base">
              <a:spcBef>
                <a:spcPct val="0"/>
              </a:spcBef>
              <a:spcAft>
                <a:spcPct val="0"/>
              </a:spcAft>
              <a:defRPr/>
            </a:pPr>
            <a:r>
              <a:rPr lang="ru-RU" sz="3200" b="1" i="1" dirty="0">
                <a:solidFill>
                  <a:srgbClr val="990000"/>
                </a:solidFill>
                <a:effectLst>
                  <a:outerShdw blurRad="38100" dist="38100" dir="2700000" algn="tl">
                    <a:srgbClr val="C0C0C0"/>
                  </a:outerShdw>
                </a:effectLst>
              </a:rPr>
              <a:t>Человек должен быть защищен от всего, от чего он может быть </a:t>
            </a:r>
            <a:r>
              <a:rPr lang="ru-RU" sz="3200" b="1" i="1" dirty="0" smtClean="0">
                <a:solidFill>
                  <a:srgbClr val="990000"/>
                </a:solidFill>
                <a:effectLst>
                  <a:outerShdw blurRad="38100" dist="38100" dir="2700000" algn="tl">
                    <a:srgbClr val="C0C0C0"/>
                  </a:outerShdw>
                </a:effectLst>
              </a:rPr>
              <a:t>защищен</a:t>
            </a:r>
            <a:endParaRPr lang="ru-RU" sz="3200" b="1" i="1" dirty="0">
              <a:solidFill>
                <a:srgbClr val="990000"/>
              </a:solidFill>
              <a:effectLst>
                <a:outerShdw blurRad="38100" dist="38100" dir="2700000" algn="tl">
                  <a:srgbClr val="C0C0C0"/>
                </a:outerShdw>
              </a:effectLst>
            </a:endParaRPr>
          </a:p>
          <a:p>
            <a:pPr algn="ctr" fontAlgn="base">
              <a:spcBef>
                <a:spcPct val="0"/>
              </a:spcBef>
              <a:spcAft>
                <a:spcPct val="0"/>
              </a:spcAft>
              <a:defRPr/>
            </a:pPr>
            <a:r>
              <a:rPr lang="ru-RU" sz="2000" b="1" dirty="0">
                <a:solidFill>
                  <a:srgbClr val="000000"/>
                </a:solidFill>
              </a:rPr>
              <a:t>                                              Позиция ВОЗ/</a:t>
            </a:r>
            <a:r>
              <a:rPr lang="en-US" sz="2000" b="1" dirty="0">
                <a:solidFill>
                  <a:srgbClr val="000000"/>
                </a:solidFill>
              </a:rPr>
              <a:t>UNICEF</a:t>
            </a:r>
            <a:endParaRPr lang="ru-RU" sz="3200" b="1" i="1" dirty="0">
              <a:solidFill>
                <a:srgbClr val="990000"/>
              </a:solidFill>
              <a:effectLst>
                <a:outerShdw blurRad="38100" dist="38100" dir="2700000" algn="tl">
                  <a:srgbClr val="C0C0C0"/>
                </a:outerShdw>
              </a:effectLst>
            </a:endParaRPr>
          </a:p>
          <a:p>
            <a:pPr algn="ctr" fontAlgn="base">
              <a:spcBef>
                <a:spcPct val="0"/>
              </a:spcBef>
              <a:spcAft>
                <a:spcPct val="0"/>
              </a:spcAft>
              <a:defRPr/>
            </a:pPr>
            <a:endParaRPr lang="ru-RU" sz="3200" b="1" i="1" dirty="0">
              <a:solidFill>
                <a:srgbClr val="990000"/>
              </a:solidFill>
              <a:effectLst>
                <a:outerShdw blurRad="38100" dist="38100" dir="2700000" algn="tl">
                  <a:srgbClr val="C0C0C0"/>
                </a:outerShdw>
              </a:effectLst>
            </a:endParaRPr>
          </a:p>
        </p:txBody>
      </p:sp>
      <p:pic>
        <p:nvPicPr>
          <p:cNvPr id="275464" name="Picture 6" descr="WHO home">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08168" y="416703"/>
            <a:ext cx="4104456" cy="1309704"/>
          </a:xfrm>
          <a:prstGeom prst="rect">
            <a:avLst/>
          </a:prstGeom>
          <a:solidFill>
            <a:srgbClr val="17C1E9"/>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75465" name="Picture 5" descr="i?id=99139890&amp;tov=6">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18595" y="3903137"/>
            <a:ext cx="2743200" cy="256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Прямоугольник 1"/>
          <p:cNvSpPr/>
          <p:nvPr/>
        </p:nvSpPr>
        <p:spPr>
          <a:xfrm>
            <a:off x="4268788" y="4293096"/>
            <a:ext cx="7669832" cy="2062162"/>
          </a:xfrm>
          <a:prstGeom prst="rect">
            <a:avLst/>
          </a:prstGeom>
        </p:spPr>
        <p:txBody>
          <a:bodyPr wrap="square">
            <a:spAutoFit/>
          </a:bodyPr>
          <a:lstStyle/>
          <a:p>
            <a:pPr algn="ctr" fontAlgn="base">
              <a:spcBef>
                <a:spcPct val="0"/>
              </a:spcBef>
              <a:spcAft>
                <a:spcPct val="0"/>
              </a:spcAft>
              <a:defRPr/>
            </a:pPr>
            <a:r>
              <a:rPr lang="ru-RU" sz="3200" b="1" kern="0" dirty="0">
                <a:solidFill>
                  <a:srgbClr val="FF0000"/>
                </a:solidFill>
              </a:rPr>
              <a:t>«Вакцинопрофилактика и чистая вода </a:t>
            </a:r>
            <a:r>
              <a:rPr lang="ru-RU" sz="3200" b="1" kern="0" dirty="0" smtClean="0">
                <a:solidFill>
                  <a:srgbClr val="FF0000"/>
                </a:solidFill>
              </a:rPr>
              <a:t>– единственные </a:t>
            </a:r>
            <a:r>
              <a:rPr lang="ru-RU" sz="3200" b="1" kern="0" dirty="0">
                <a:solidFill>
                  <a:srgbClr val="FF0000"/>
                </a:solidFill>
              </a:rPr>
              <a:t>меры, реально влияющие на общественное здоровье»</a:t>
            </a:r>
            <a:endParaRPr lang="ru-RU" sz="2000" b="1" dirty="0">
              <a:solidFill>
                <a:srgbClr val="000000"/>
              </a:solidFill>
            </a:endParaRPr>
          </a:p>
        </p:txBody>
      </p:sp>
    </p:spTree>
    <p:extLst>
      <p:ext uri="{BB962C8B-B14F-4D97-AF65-F5344CB8AC3E}">
        <p14:creationId xmlns:p14="http://schemas.microsoft.com/office/powerpoint/2010/main" val="2338588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Rectangle 2"/>
          <p:cNvSpPr>
            <a:spLocks noGrp="1" noChangeArrowheads="1"/>
          </p:cNvSpPr>
          <p:nvPr>
            <p:ph type="title"/>
          </p:nvPr>
        </p:nvSpPr>
        <p:spPr>
          <a:xfrm>
            <a:off x="479377" y="468313"/>
            <a:ext cx="11233248" cy="1447800"/>
          </a:xfrm>
        </p:spPr>
        <p:txBody>
          <a:bodyPr/>
          <a:lstStyle/>
          <a:p>
            <a:pPr eaLnBrk="1" hangingPunct="1"/>
            <a:r>
              <a:rPr lang="ru-RU" altLang="ru-RU" sz="2400" b="1" dirty="0">
                <a:solidFill>
                  <a:srgbClr val="C00000"/>
                </a:solidFill>
                <a:latin typeface="Tahoma" pitchFamily="34" charset="0"/>
                <a:cs typeface="Tahoma" pitchFamily="34" charset="0"/>
              </a:rPr>
              <a:t>Инфекционные  </a:t>
            </a:r>
            <a:r>
              <a:rPr lang="ru-RU" altLang="ru-RU" sz="2400" b="1" dirty="0">
                <a:solidFill>
                  <a:srgbClr val="AE020E"/>
                </a:solidFill>
                <a:latin typeface="Tahoma" pitchFamily="34" charset="0"/>
                <a:cs typeface="Tahoma" pitchFamily="34" charset="0"/>
              </a:rPr>
              <a:t>болезни</a:t>
            </a:r>
            <a:r>
              <a:rPr lang="ru-RU" altLang="ru-RU" sz="2400" b="1" dirty="0">
                <a:solidFill>
                  <a:srgbClr val="000066"/>
                </a:solidFill>
                <a:latin typeface="Tahoma" pitchFamily="34" charset="0"/>
                <a:cs typeface="Tahoma" pitchFamily="34" charset="0"/>
              </a:rPr>
              <a:t> - одна из ведущих причин смертности на Земле. Из 52 млн. смертей, регистрируемых ежегодно, 17 млн. обусловлены инфекциями, из них 12 млн</a:t>
            </a:r>
            <a:r>
              <a:rPr lang="ru-RU" altLang="ru-RU" sz="2400" b="1" dirty="0" smtClean="0">
                <a:solidFill>
                  <a:srgbClr val="000066"/>
                </a:solidFill>
                <a:latin typeface="Tahoma" pitchFamily="34" charset="0"/>
                <a:cs typeface="Tahoma" pitchFamily="34" charset="0"/>
              </a:rPr>
              <a:t>. - </a:t>
            </a:r>
            <a:r>
              <a:rPr lang="ru-RU" altLang="ru-RU" sz="2400" b="1" dirty="0">
                <a:solidFill>
                  <a:srgbClr val="000066"/>
                </a:solidFill>
                <a:latin typeface="Tahoma" pitchFamily="34" charset="0"/>
                <a:cs typeface="Tahoma" pitchFamily="34" charset="0"/>
              </a:rPr>
              <a:t>дети младше 5-ти лет</a:t>
            </a:r>
            <a:endParaRPr lang="ru-RU" altLang="ru-RU" sz="2000" b="1" dirty="0">
              <a:solidFill>
                <a:srgbClr val="000066"/>
              </a:solidFill>
              <a:latin typeface="Tahoma" pitchFamily="34" charset="0"/>
              <a:cs typeface="Tahoma" pitchFamily="34" charset="0"/>
            </a:endParaRPr>
          </a:p>
        </p:txBody>
      </p:sp>
      <p:sp>
        <p:nvSpPr>
          <p:cNvPr id="246787" name="Text Box 4"/>
          <p:cNvSpPr txBox="1">
            <a:spLocks noChangeArrowheads="1"/>
          </p:cNvSpPr>
          <p:nvPr/>
        </p:nvSpPr>
        <p:spPr bwMode="auto">
          <a:xfrm>
            <a:off x="1828800" y="1905000"/>
            <a:ext cx="8458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fontAlgn="base">
              <a:spcBef>
                <a:spcPct val="50000"/>
              </a:spcBef>
              <a:spcAft>
                <a:spcPct val="0"/>
              </a:spcAft>
            </a:pPr>
            <a:r>
              <a:rPr lang="ru-RU" altLang="ru-RU" sz="2000">
                <a:solidFill>
                  <a:srgbClr val="000000"/>
                </a:solidFill>
                <a:latin typeface="Tahoma" pitchFamily="34" charset="0"/>
                <a:cs typeface="Times New Roman" pitchFamily="18" charset="0"/>
              </a:rPr>
              <a:t>	</a:t>
            </a:r>
            <a:endParaRPr lang="ru-RU" altLang="ru-RU" sz="1600" b="1">
              <a:solidFill>
                <a:srgbClr val="000000"/>
              </a:solidFill>
              <a:latin typeface="Tahoma" pitchFamily="34" charset="0"/>
              <a:cs typeface="Times New Roman" pitchFamily="18" charset="0"/>
            </a:endParaRPr>
          </a:p>
        </p:txBody>
      </p:sp>
      <p:sp>
        <p:nvSpPr>
          <p:cNvPr id="246788" name="Oval 5"/>
          <p:cNvSpPr>
            <a:spLocks noChangeArrowheads="1"/>
          </p:cNvSpPr>
          <p:nvPr/>
        </p:nvSpPr>
        <p:spPr bwMode="auto">
          <a:xfrm>
            <a:off x="1828800" y="2438400"/>
            <a:ext cx="1828800" cy="1447800"/>
          </a:xfrm>
          <a:prstGeom prst="ellipse">
            <a:avLst/>
          </a:prstGeom>
          <a:solidFill>
            <a:srgbClr val="800000"/>
          </a:solidFill>
          <a:ln w="9525">
            <a:solidFill>
              <a:srgbClr val="FFC000"/>
            </a:solidFill>
            <a:miter lim="800000"/>
            <a:headEnd/>
            <a:tailEnd/>
          </a:ln>
        </p:spPr>
        <p:txBody>
          <a:bodyPr wrap="none" anchor="ctr"/>
          <a:lstStyle/>
          <a:p>
            <a:pPr fontAlgn="base">
              <a:spcBef>
                <a:spcPct val="0"/>
              </a:spcBef>
              <a:spcAft>
                <a:spcPct val="0"/>
              </a:spcAft>
            </a:pPr>
            <a:endParaRPr lang="ru-RU" altLang="ru-RU" sz="2000">
              <a:solidFill>
                <a:srgbClr val="000000"/>
              </a:solidFill>
            </a:endParaRPr>
          </a:p>
        </p:txBody>
      </p:sp>
      <p:sp>
        <p:nvSpPr>
          <p:cNvPr id="246789" name="Text Box 6"/>
          <p:cNvSpPr txBox="1">
            <a:spLocks noChangeArrowheads="1"/>
          </p:cNvSpPr>
          <p:nvPr/>
        </p:nvSpPr>
        <p:spPr bwMode="auto">
          <a:xfrm>
            <a:off x="1981200" y="2819401"/>
            <a:ext cx="15240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fontAlgn="base">
              <a:spcBef>
                <a:spcPct val="50000"/>
              </a:spcBef>
              <a:spcAft>
                <a:spcPct val="0"/>
              </a:spcAft>
            </a:pPr>
            <a:r>
              <a:rPr lang="ru-RU" altLang="ru-RU" sz="2000" b="1">
                <a:solidFill>
                  <a:srgbClr val="FFC000"/>
                </a:solidFill>
              </a:rPr>
              <a:t>Источник инфекции</a:t>
            </a:r>
          </a:p>
        </p:txBody>
      </p:sp>
      <p:sp>
        <p:nvSpPr>
          <p:cNvPr id="246790" name="Oval 7"/>
          <p:cNvSpPr>
            <a:spLocks noChangeArrowheads="1"/>
          </p:cNvSpPr>
          <p:nvPr/>
        </p:nvSpPr>
        <p:spPr bwMode="auto">
          <a:xfrm>
            <a:off x="4191000" y="3657600"/>
            <a:ext cx="1981200" cy="1447800"/>
          </a:xfrm>
          <a:prstGeom prst="ellipse">
            <a:avLst/>
          </a:prstGeom>
          <a:solidFill>
            <a:srgbClr val="004C38"/>
          </a:solidFill>
          <a:ln w="9525">
            <a:solidFill>
              <a:srgbClr val="00FF00"/>
            </a:solidFill>
            <a:miter lim="800000"/>
            <a:headEnd/>
            <a:tailEnd/>
          </a:ln>
        </p:spPr>
        <p:txBody>
          <a:bodyPr wrap="none" anchor="ctr"/>
          <a:lstStyle/>
          <a:p>
            <a:pPr fontAlgn="base">
              <a:spcBef>
                <a:spcPct val="0"/>
              </a:spcBef>
              <a:spcAft>
                <a:spcPct val="0"/>
              </a:spcAft>
            </a:pPr>
            <a:endParaRPr lang="ru-RU" altLang="ru-RU" sz="2000">
              <a:solidFill>
                <a:srgbClr val="FFC000"/>
              </a:solidFill>
            </a:endParaRPr>
          </a:p>
        </p:txBody>
      </p:sp>
      <p:sp>
        <p:nvSpPr>
          <p:cNvPr id="246791" name="Oval 8"/>
          <p:cNvSpPr>
            <a:spLocks noChangeArrowheads="1"/>
          </p:cNvSpPr>
          <p:nvPr/>
        </p:nvSpPr>
        <p:spPr bwMode="auto">
          <a:xfrm>
            <a:off x="7543800" y="5181600"/>
            <a:ext cx="2743200" cy="1447800"/>
          </a:xfrm>
          <a:prstGeom prst="ellipse">
            <a:avLst/>
          </a:prstGeom>
          <a:solidFill>
            <a:srgbClr val="3A0074"/>
          </a:solidFill>
          <a:ln w="9525">
            <a:solidFill>
              <a:srgbClr val="7030A0"/>
            </a:solidFill>
            <a:miter lim="800000"/>
            <a:headEnd/>
            <a:tailEnd/>
          </a:ln>
        </p:spPr>
        <p:txBody>
          <a:bodyPr wrap="none" anchor="ctr"/>
          <a:lstStyle/>
          <a:p>
            <a:pPr fontAlgn="base">
              <a:spcBef>
                <a:spcPct val="0"/>
              </a:spcBef>
              <a:spcAft>
                <a:spcPct val="0"/>
              </a:spcAft>
            </a:pPr>
            <a:endParaRPr lang="ru-RU" altLang="ru-RU" sz="2000">
              <a:solidFill>
                <a:srgbClr val="000000"/>
              </a:solidFill>
            </a:endParaRPr>
          </a:p>
        </p:txBody>
      </p:sp>
      <p:sp>
        <p:nvSpPr>
          <p:cNvPr id="246792" name="Text Box 9"/>
          <p:cNvSpPr txBox="1">
            <a:spLocks noChangeArrowheads="1"/>
          </p:cNvSpPr>
          <p:nvPr/>
        </p:nvSpPr>
        <p:spPr bwMode="auto">
          <a:xfrm>
            <a:off x="4367214" y="3962401"/>
            <a:ext cx="157638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ctr" fontAlgn="base">
              <a:spcBef>
                <a:spcPct val="50000"/>
              </a:spcBef>
              <a:spcAft>
                <a:spcPct val="0"/>
              </a:spcAft>
            </a:pPr>
            <a:r>
              <a:rPr lang="ru-RU" altLang="ru-RU" sz="2000" b="1">
                <a:solidFill>
                  <a:srgbClr val="00FF00"/>
                </a:solidFill>
              </a:rPr>
              <a:t>Пути передачи</a:t>
            </a:r>
          </a:p>
        </p:txBody>
      </p:sp>
      <p:sp>
        <p:nvSpPr>
          <p:cNvPr id="246793" name="Line 10"/>
          <p:cNvSpPr>
            <a:spLocks noChangeShapeType="1"/>
          </p:cNvSpPr>
          <p:nvPr/>
        </p:nvSpPr>
        <p:spPr bwMode="auto">
          <a:xfrm rot="1570225">
            <a:off x="3581400" y="3732214"/>
            <a:ext cx="609600" cy="1587"/>
          </a:xfrm>
          <a:prstGeom prst="line">
            <a:avLst/>
          </a:prstGeom>
          <a:noFill/>
          <a:ln w="57150" cmpd="thickThin">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pPr fontAlgn="base">
              <a:spcBef>
                <a:spcPct val="0"/>
              </a:spcBef>
              <a:spcAft>
                <a:spcPct val="0"/>
              </a:spcAft>
            </a:pPr>
            <a:endParaRPr lang="ru-RU" sz="2000">
              <a:solidFill>
                <a:srgbClr val="000000"/>
              </a:solidFill>
            </a:endParaRPr>
          </a:p>
        </p:txBody>
      </p:sp>
      <p:sp>
        <p:nvSpPr>
          <p:cNvPr id="246794" name="Line 11"/>
          <p:cNvSpPr>
            <a:spLocks noChangeShapeType="1"/>
          </p:cNvSpPr>
          <p:nvPr/>
        </p:nvSpPr>
        <p:spPr bwMode="auto">
          <a:xfrm rot="1637057">
            <a:off x="6248400" y="5181600"/>
            <a:ext cx="1371600" cy="0"/>
          </a:xfrm>
          <a:prstGeom prst="line">
            <a:avLst/>
          </a:prstGeom>
          <a:noFill/>
          <a:ln w="57150" cmpd="thickThin">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pPr fontAlgn="base">
              <a:spcBef>
                <a:spcPct val="0"/>
              </a:spcBef>
              <a:spcAft>
                <a:spcPct val="0"/>
              </a:spcAft>
            </a:pPr>
            <a:endParaRPr lang="ru-RU" sz="2000">
              <a:solidFill>
                <a:srgbClr val="000000"/>
              </a:solidFill>
            </a:endParaRPr>
          </a:p>
        </p:txBody>
      </p:sp>
      <p:sp>
        <p:nvSpPr>
          <p:cNvPr id="246795" name="Text Box 12"/>
          <p:cNvSpPr txBox="1">
            <a:spLocks noChangeArrowheads="1"/>
          </p:cNvSpPr>
          <p:nvPr/>
        </p:nvSpPr>
        <p:spPr bwMode="auto">
          <a:xfrm>
            <a:off x="7848600" y="5638800"/>
            <a:ext cx="2438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fontAlgn="base">
              <a:spcBef>
                <a:spcPct val="50000"/>
              </a:spcBef>
              <a:spcAft>
                <a:spcPct val="0"/>
              </a:spcAft>
            </a:pPr>
            <a:r>
              <a:rPr lang="ru-RU" altLang="ru-RU" sz="1800" b="1">
                <a:solidFill>
                  <a:srgbClr val="E7F6FF"/>
                </a:solidFill>
              </a:rPr>
              <a:t>Восприимчивость</a:t>
            </a:r>
          </a:p>
        </p:txBody>
      </p:sp>
      <p:sp>
        <p:nvSpPr>
          <p:cNvPr id="246796" name="Text Box 15"/>
          <p:cNvSpPr txBox="1">
            <a:spLocks noChangeArrowheads="1"/>
          </p:cNvSpPr>
          <p:nvPr/>
        </p:nvSpPr>
        <p:spPr bwMode="auto">
          <a:xfrm>
            <a:off x="5562600" y="1905000"/>
            <a:ext cx="25146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fontAlgn="base">
              <a:spcBef>
                <a:spcPct val="50000"/>
              </a:spcBef>
              <a:spcAft>
                <a:spcPct val="0"/>
              </a:spcAft>
            </a:pPr>
            <a:endParaRPr lang="ru-RU" altLang="ru-RU" sz="2000">
              <a:solidFill>
                <a:srgbClr val="000000"/>
              </a:solidFill>
              <a:latin typeface="Tahoma" pitchFamily="34" charset="0"/>
            </a:endParaRPr>
          </a:p>
        </p:txBody>
      </p:sp>
      <p:sp>
        <p:nvSpPr>
          <p:cNvPr id="35856" name="Text Box 16"/>
          <p:cNvSpPr txBox="1">
            <a:spLocks noChangeArrowheads="1"/>
          </p:cNvSpPr>
          <p:nvPr/>
        </p:nvSpPr>
        <p:spPr bwMode="auto">
          <a:xfrm rot="-1998226">
            <a:off x="4900614" y="5108576"/>
            <a:ext cx="3616325" cy="396875"/>
          </a:xfrm>
          <a:prstGeom prst="rect">
            <a:avLst/>
          </a:prstGeom>
          <a:solidFill>
            <a:srgbClr val="FF0000"/>
          </a:solidFill>
          <a:ln w="9525">
            <a:solidFill>
              <a:srgbClr val="C00000"/>
            </a:solidFill>
            <a:miter lim="800000"/>
            <a:headEnd/>
            <a:tailEnd/>
          </a:ln>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ctr" fontAlgn="base">
              <a:spcBef>
                <a:spcPct val="50000"/>
              </a:spcBef>
              <a:spcAft>
                <a:spcPct val="0"/>
              </a:spcAft>
            </a:pPr>
            <a:r>
              <a:rPr lang="ru-RU" altLang="ru-RU" sz="2000" b="1">
                <a:solidFill>
                  <a:srgbClr val="FFFFFF"/>
                </a:solidFill>
              </a:rPr>
              <a:t>Иммунопрофилактика</a:t>
            </a:r>
          </a:p>
        </p:txBody>
      </p:sp>
      <p:sp>
        <p:nvSpPr>
          <p:cNvPr id="246798" name="Text Box 18"/>
          <p:cNvSpPr txBox="1">
            <a:spLocks noChangeArrowheads="1"/>
          </p:cNvSpPr>
          <p:nvPr/>
        </p:nvSpPr>
        <p:spPr bwMode="auto">
          <a:xfrm>
            <a:off x="6019800" y="2057400"/>
            <a:ext cx="41148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fontAlgn="base">
              <a:spcBef>
                <a:spcPct val="50000"/>
              </a:spcBef>
              <a:spcAft>
                <a:spcPct val="0"/>
              </a:spcAft>
            </a:pPr>
            <a:endParaRPr lang="ru-RU" altLang="ru-RU" sz="2000">
              <a:solidFill>
                <a:srgbClr val="000000"/>
              </a:solidFill>
              <a:latin typeface="Tahoma" pitchFamily="34" charset="0"/>
            </a:endParaRPr>
          </a:p>
        </p:txBody>
      </p:sp>
      <p:sp>
        <p:nvSpPr>
          <p:cNvPr id="246799" name="Text Box 22"/>
          <p:cNvSpPr txBox="1">
            <a:spLocks noChangeArrowheads="1"/>
          </p:cNvSpPr>
          <p:nvPr/>
        </p:nvSpPr>
        <p:spPr bwMode="auto">
          <a:xfrm>
            <a:off x="4953000" y="1828800"/>
            <a:ext cx="5410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fontAlgn="base">
              <a:spcBef>
                <a:spcPct val="50000"/>
              </a:spcBef>
              <a:spcAft>
                <a:spcPct val="0"/>
              </a:spcAft>
            </a:pPr>
            <a:endParaRPr lang="ru-RU" altLang="ru-RU" sz="2000">
              <a:solidFill>
                <a:srgbClr val="000000"/>
              </a:solidFill>
            </a:endParaRPr>
          </a:p>
        </p:txBody>
      </p:sp>
      <p:sp>
        <p:nvSpPr>
          <p:cNvPr id="246800" name="Text Box 24"/>
          <p:cNvSpPr txBox="1">
            <a:spLocks noChangeArrowheads="1"/>
          </p:cNvSpPr>
          <p:nvPr/>
        </p:nvSpPr>
        <p:spPr bwMode="auto">
          <a:xfrm>
            <a:off x="4656137" y="2057400"/>
            <a:ext cx="7056487"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algn="ctr" fontAlgn="base">
              <a:spcBef>
                <a:spcPct val="50000"/>
              </a:spcBef>
              <a:spcAft>
                <a:spcPct val="0"/>
              </a:spcAft>
            </a:pPr>
            <a:r>
              <a:rPr lang="ru-RU" altLang="ru-RU" sz="2000" b="1" dirty="0">
                <a:solidFill>
                  <a:srgbClr val="C00000"/>
                </a:solidFill>
                <a:latin typeface="Tahoma" pitchFamily="34" charset="0"/>
                <a:cs typeface="Tahoma" pitchFamily="34" charset="0"/>
              </a:rPr>
              <a:t>Благодаря иммунопрофилактике ежегодно предотвращается  более 3  млн.  смертей  и  минимум  750  тысяч  детей  избегают  слепоты, умственной  отсталости  и  других  причин  инвалидности</a:t>
            </a:r>
          </a:p>
        </p:txBody>
      </p:sp>
      <p:pic>
        <p:nvPicPr>
          <p:cNvPr id="246801"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6582" y="4056204"/>
            <a:ext cx="3024435" cy="2501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02184582"/>
      </p:ext>
    </p:extLst>
  </p:cSld>
  <p:clrMapOvr>
    <a:masterClrMapping/>
  </p:clrMapOvr>
  <p:transition>
    <p:zoom/>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9" presetClass="entr" presetSubtype="10" fill="hold" grpId="0" nodeType="clickEffect">
                                  <p:stCondLst>
                                    <p:cond delay="0"/>
                                  </p:stCondLst>
                                  <p:childTnLst>
                                    <p:set>
                                      <p:cBhvr>
                                        <p:cTn id="6" dur="1" fill="hold">
                                          <p:stCondLst>
                                            <p:cond delay="0"/>
                                          </p:stCondLst>
                                        </p:cTn>
                                        <p:tgtEl>
                                          <p:spTgt spid="35856"/>
                                        </p:tgtEl>
                                        <p:attrNameLst>
                                          <p:attrName>style.visibility</p:attrName>
                                        </p:attrNameLst>
                                      </p:cBhvr>
                                      <p:to>
                                        <p:strVal val="visible"/>
                                      </p:to>
                                    </p:set>
                                    <p:anim calcmode="lin" valueType="num">
                                      <p:cBhvr>
                                        <p:cTn id="7" dur="5000" fill="hold"/>
                                        <p:tgtEl>
                                          <p:spTgt spid="35856"/>
                                        </p:tgtEl>
                                        <p:attrNameLst>
                                          <p:attrName>ppt_w</p:attrName>
                                        </p:attrNameLst>
                                      </p:cBhvr>
                                      <p:tavLst>
                                        <p:tav tm="0" fmla="#ppt_w*sin(2.5*pi*$)">
                                          <p:val>
                                            <p:fltVal val="0"/>
                                          </p:val>
                                        </p:tav>
                                        <p:tav tm="100000">
                                          <p:val>
                                            <p:fltVal val="1"/>
                                          </p:val>
                                        </p:tav>
                                      </p:tavLst>
                                    </p:anim>
                                    <p:anim calcmode="lin" valueType="num">
                                      <p:cBhvr>
                                        <p:cTn id="8" dur="5000" fill="hold"/>
                                        <p:tgtEl>
                                          <p:spTgt spid="3585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56" grpId="0" animBg="1"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81200" y="274638"/>
            <a:ext cx="8229600" cy="633412"/>
          </a:xfrm>
        </p:spPr>
        <p:txBody>
          <a:bodyPr rtlCol="0">
            <a:normAutofit fontScale="90000"/>
          </a:bodyPr>
          <a:lstStyle/>
          <a:p>
            <a:pPr eaLnBrk="1" fontAlgn="auto" hangingPunct="1">
              <a:spcAft>
                <a:spcPts val="0"/>
              </a:spcAft>
              <a:defRPr/>
            </a:pPr>
            <a:r>
              <a:rPr lang="ru-RU" b="1" dirty="0" smtClean="0">
                <a:solidFill>
                  <a:srgbClr val="C00000"/>
                </a:solidFill>
              </a:rPr>
              <a:t>21 </a:t>
            </a:r>
            <a:r>
              <a:rPr lang="ru-RU" b="1" dirty="0" smtClean="0">
                <a:solidFill>
                  <a:srgbClr val="C00000"/>
                </a:solidFill>
              </a:rPr>
              <a:t>век – </a:t>
            </a:r>
            <a:r>
              <a:rPr lang="ru-RU" b="1" dirty="0" smtClean="0">
                <a:solidFill>
                  <a:srgbClr val="C00000"/>
                </a:solidFill>
              </a:rPr>
              <a:t>Вакцинация</a:t>
            </a:r>
            <a:endParaRPr lang="ru-RU" b="1" dirty="0">
              <a:solidFill>
                <a:srgbClr val="C00000"/>
              </a:solidFill>
            </a:endParaRPr>
          </a:p>
        </p:txBody>
      </p:sp>
      <p:sp>
        <p:nvSpPr>
          <p:cNvPr id="3" name="Содержимое 2"/>
          <p:cNvSpPr>
            <a:spLocks noGrp="1"/>
          </p:cNvSpPr>
          <p:nvPr>
            <p:ph sz="half" idx="1"/>
          </p:nvPr>
        </p:nvSpPr>
        <p:spPr>
          <a:xfrm>
            <a:off x="335360" y="1125538"/>
            <a:ext cx="3657600" cy="5589587"/>
          </a:xfrm>
        </p:spPr>
        <p:txBody>
          <a:bodyPr rtlCol="0">
            <a:normAutofit fontScale="92500" lnSpcReduction="10000"/>
          </a:bodyPr>
          <a:lstStyle/>
          <a:p>
            <a:pPr eaLnBrk="1" fontAlgn="auto" hangingPunct="1">
              <a:spcAft>
                <a:spcPts val="0"/>
              </a:spcAft>
              <a:defRPr/>
            </a:pPr>
            <a:r>
              <a:rPr lang="ru-RU" b="1" dirty="0" smtClean="0">
                <a:solidFill>
                  <a:srgbClr val="FF0000"/>
                </a:solidFill>
              </a:rPr>
              <a:t>Гепатит В</a:t>
            </a:r>
          </a:p>
          <a:p>
            <a:pPr eaLnBrk="1" fontAlgn="auto" hangingPunct="1">
              <a:spcAft>
                <a:spcPts val="0"/>
              </a:spcAft>
              <a:defRPr/>
            </a:pPr>
            <a:r>
              <a:rPr lang="ru-RU" b="1" dirty="0" smtClean="0"/>
              <a:t>Гепатит А</a:t>
            </a:r>
          </a:p>
          <a:p>
            <a:pPr eaLnBrk="1" fontAlgn="auto" hangingPunct="1">
              <a:spcAft>
                <a:spcPts val="0"/>
              </a:spcAft>
              <a:defRPr/>
            </a:pPr>
            <a:r>
              <a:rPr lang="ru-RU" b="1" dirty="0" smtClean="0">
                <a:solidFill>
                  <a:srgbClr val="FF0000"/>
                </a:solidFill>
              </a:rPr>
              <a:t>Грипп</a:t>
            </a:r>
          </a:p>
          <a:p>
            <a:pPr eaLnBrk="1" fontAlgn="auto" hangingPunct="1">
              <a:spcAft>
                <a:spcPts val="0"/>
              </a:spcAft>
              <a:defRPr/>
            </a:pPr>
            <a:r>
              <a:rPr lang="ru-RU" b="1" dirty="0" err="1" smtClean="0">
                <a:solidFill>
                  <a:srgbClr val="FF0000"/>
                </a:solidFill>
              </a:rPr>
              <a:t>Гемофильная</a:t>
            </a:r>
            <a:r>
              <a:rPr lang="ru-RU" b="1" dirty="0" smtClean="0">
                <a:solidFill>
                  <a:srgbClr val="FF0000"/>
                </a:solidFill>
              </a:rPr>
              <a:t> инфекция тип В</a:t>
            </a:r>
          </a:p>
          <a:p>
            <a:pPr eaLnBrk="1" fontAlgn="auto" hangingPunct="1">
              <a:spcAft>
                <a:spcPts val="0"/>
              </a:spcAft>
              <a:defRPr/>
            </a:pPr>
            <a:r>
              <a:rPr lang="ru-RU" b="1" dirty="0" smtClean="0">
                <a:solidFill>
                  <a:srgbClr val="FF0000"/>
                </a:solidFill>
              </a:rPr>
              <a:t>Дифтерия</a:t>
            </a:r>
          </a:p>
          <a:p>
            <a:pPr eaLnBrk="1" fontAlgn="auto" hangingPunct="1">
              <a:spcAft>
                <a:spcPts val="0"/>
              </a:spcAft>
              <a:defRPr/>
            </a:pPr>
            <a:r>
              <a:rPr lang="ru-RU" b="1" dirty="0" smtClean="0">
                <a:solidFill>
                  <a:srgbClr val="FF0000"/>
                </a:solidFill>
              </a:rPr>
              <a:t>Коклюш</a:t>
            </a:r>
          </a:p>
          <a:p>
            <a:pPr eaLnBrk="1" fontAlgn="auto" hangingPunct="1">
              <a:spcAft>
                <a:spcPts val="0"/>
              </a:spcAft>
              <a:defRPr/>
            </a:pPr>
            <a:r>
              <a:rPr lang="ru-RU" b="1" dirty="0" smtClean="0">
                <a:solidFill>
                  <a:srgbClr val="FF0000"/>
                </a:solidFill>
              </a:rPr>
              <a:t>Столбняк</a:t>
            </a:r>
          </a:p>
          <a:p>
            <a:pPr eaLnBrk="1" fontAlgn="auto" hangingPunct="1">
              <a:spcAft>
                <a:spcPts val="0"/>
              </a:spcAft>
              <a:defRPr/>
            </a:pPr>
            <a:r>
              <a:rPr lang="ru-RU" b="1" dirty="0" smtClean="0">
                <a:solidFill>
                  <a:srgbClr val="FF0000"/>
                </a:solidFill>
              </a:rPr>
              <a:t>Туберкулез </a:t>
            </a:r>
          </a:p>
          <a:p>
            <a:pPr eaLnBrk="1" fontAlgn="auto" hangingPunct="1">
              <a:spcAft>
                <a:spcPts val="0"/>
              </a:spcAft>
              <a:defRPr/>
            </a:pPr>
            <a:r>
              <a:rPr lang="ru-RU" b="1" dirty="0" smtClean="0">
                <a:solidFill>
                  <a:srgbClr val="FF0000"/>
                </a:solidFill>
              </a:rPr>
              <a:t>Полиомиелит</a:t>
            </a:r>
            <a:endParaRPr lang="ru-RU" b="1" dirty="0">
              <a:solidFill>
                <a:srgbClr val="FF0000"/>
              </a:solidFill>
            </a:endParaRPr>
          </a:p>
        </p:txBody>
      </p:sp>
      <p:sp>
        <p:nvSpPr>
          <p:cNvPr id="4" name="Содержимое 3"/>
          <p:cNvSpPr>
            <a:spLocks noGrp="1"/>
          </p:cNvSpPr>
          <p:nvPr>
            <p:ph sz="half" idx="2"/>
          </p:nvPr>
        </p:nvSpPr>
        <p:spPr>
          <a:xfrm>
            <a:off x="8040216" y="1112741"/>
            <a:ext cx="3635375" cy="5256212"/>
          </a:xfrm>
        </p:spPr>
        <p:txBody>
          <a:bodyPr rtlCol="0">
            <a:normAutofit fontScale="92500" lnSpcReduction="10000"/>
          </a:bodyPr>
          <a:lstStyle/>
          <a:p>
            <a:pPr algn="ctr" eaLnBrk="1" fontAlgn="auto" hangingPunct="1">
              <a:spcAft>
                <a:spcPts val="0"/>
              </a:spcAft>
              <a:defRPr/>
            </a:pPr>
            <a:r>
              <a:rPr lang="ru-RU" b="1" dirty="0" smtClean="0">
                <a:solidFill>
                  <a:srgbClr val="FF0000"/>
                </a:solidFill>
              </a:rPr>
              <a:t>Корь</a:t>
            </a:r>
          </a:p>
          <a:p>
            <a:pPr algn="ctr" eaLnBrk="1" fontAlgn="auto" hangingPunct="1">
              <a:spcAft>
                <a:spcPts val="0"/>
              </a:spcAft>
              <a:defRPr/>
            </a:pPr>
            <a:r>
              <a:rPr lang="ru-RU" b="1" dirty="0" smtClean="0">
                <a:solidFill>
                  <a:srgbClr val="FF0000"/>
                </a:solidFill>
              </a:rPr>
              <a:t>Краснуха</a:t>
            </a:r>
          </a:p>
          <a:p>
            <a:pPr algn="ctr" eaLnBrk="1" fontAlgn="auto" hangingPunct="1">
              <a:spcAft>
                <a:spcPts val="0"/>
              </a:spcAft>
              <a:defRPr/>
            </a:pPr>
            <a:r>
              <a:rPr lang="ru-RU" b="1" dirty="0" smtClean="0">
                <a:solidFill>
                  <a:srgbClr val="FF0000"/>
                </a:solidFill>
              </a:rPr>
              <a:t>Паротит</a:t>
            </a:r>
          </a:p>
          <a:p>
            <a:pPr algn="ctr" eaLnBrk="1" fontAlgn="auto" hangingPunct="1">
              <a:spcAft>
                <a:spcPts val="0"/>
              </a:spcAft>
              <a:defRPr/>
            </a:pPr>
            <a:r>
              <a:rPr lang="ru-RU" b="1" dirty="0" smtClean="0"/>
              <a:t>Ветряная оспа</a:t>
            </a:r>
          </a:p>
          <a:p>
            <a:pPr algn="ctr" eaLnBrk="1" fontAlgn="auto" hangingPunct="1">
              <a:spcAft>
                <a:spcPts val="0"/>
              </a:spcAft>
              <a:defRPr/>
            </a:pPr>
            <a:r>
              <a:rPr lang="ru-RU" b="1" dirty="0" smtClean="0">
                <a:solidFill>
                  <a:srgbClr val="FF0000"/>
                </a:solidFill>
              </a:rPr>
              <a:t>Пневмококковая</a:t>
            </a:r>
          </a:p>
          <a:p>
            <a:pPr algn="ctr" eaLnBrk="1" fontAlgn="auto" hangingPunct="1">
              <a:spcAft>
                <a:spcPts val="0"/>
              </a:spcAft>
              <a:defRPr/>
            </a:pPr>
            <a:r>
              <a:rPr lang="ru-RU" b="1" dirty="0" err="1" smtClean="0"/>
              <a:t>Ротавирусная</a:t>
            </a:r>
            <a:endParaRPr lang="ru-RU" b="1" dirty="0" smtClean="0"/>
          </a:p>
          <a:p>
            <a:pPr algn="ctr" eaLnBrk="1" fontAlgn="auto" hangingPunct="1">
              <a:spcAft>
                <a:spcPts val="0"/>
              </a:spcAft>
              <a:defRPr/>
            </a:pPr>
            <a:r>
              <a:rPr lang="ru-RU" b="1" dirty="0" smtClean="0"/>
              <a:t>РС- вирус</a:t>
            </a:r>
          </a:p>
          <a:p>
            <a:pPr algn="ctr" eaLnBrk="1" fontAlgn="auto" hangingPunct="1">
              <a:spcAft>
                <a:spcPts val="0"/>
              </a:spcAft>
              <a:defRPr/>
            </a:pPr>
            <a:r>
              <a:rPr lang="ru-RU" b="1" dirty="0" smtClean="0"/>
              <a:t>ВПЧ</a:t>
            </a:r>
          </a:p>
          <a:p>
            <a:pPr algn="ctr" eaLnBrk="1" fontAlgn="auto" hangingPunct="1">
              <a:spcAft>
                <a:spcPts val="0"/>
              </a:spcAft>
              <a:defRPr/>
            </a:pPr>
            <a:r>
              <a:rPr lang="ru-RU" b="1" dirty="0" smtClean="0">
                <a:solidFill>
                  <a:prstClr val="black"/>
                </a:solidFill>
              </a:rPr>
              <a:t>Менингококковая инфекция А,</a:t>
            </a:r>
            <a:r>
              <a:rPr lang="en-US" b="1" dirty="0" smtClean="0">
                <a:solidFill>
                  <a:prstClr val="black"/>
                </a:solidFill>
              </a:rPr>
              <a:t>B,</a:t>
            </a:r>
            <a:r>
              <a:rPr lang="ru-RU" b="1" dirty="0" smtClean="0">
                <a:solidFill>
                  <a:prstClr val="black"/>
                </a:solidFill>
              </a:rPr>
              <a:t>С,</a:t>
            </a:r>
            <a:r>
              <a:rPr lang="en-US" b="1" dirty="0" smtClean="0">
                <a:solidFill>
                  <a:prstClr val="black"/>
                </a:solidFill>
              </a:rPr>
              <a:t>W135,Y</a:t>
            </a:r>
            <a:endParaRPr lang="ru-RU" b="1" dirty="0" smtClean="0">
              <a:solidFill>
                <a:prstClr val="black"/>
              </a:solidFill>
            </a:endParaRPr>
          </a:p>
          <a:p>
            <a:pPr algn="ctr" eaLnBrk="1" fontAlgn="auto" hangingPunct="1">
              <a:spcAft>
                <a:spcPts val="0"/>
              </a:spcAft>
              <a:defRPr/>
            </a:pPr>
            <a:r>
              <a:rPr lang="en-US" b="1" dirty="0" smtClean="0">
                <a:solidFill>
                  <a:prstClr val="black"/>
                </a:solidFill>
              </a:rPr>
              <a:t>Covid-19</a:t>
            </a:r>
          </a:p>
          <a:p>
            <a:pPr algn="ctr" eaLnBrk="1" fontAlgn="auto" hangingPunct="1">
              <a:spcAft>
                <a:spcPts val="0"/>
              </a:spcAft>
              <a:defRPr/>
            </a:pPr>
            <a:endParaRPr lang="en-US" b="1" dirty="0" smtClean="0">
              <a:solidFill>
                <a:prstClr val="black"/>
              </a:solidFill>
            </a:endParaRPr>
          </a:p>
          <a:p>
            <a:pPr algn="ctr" eaLnBrk="1" fontAlgn="auto" hangingPunct="1">
              <a:spcAft>
                <a:spcPts val="0"/>
              </a:spcAft>
              <a:defRPr/>
            </a:pPr>
            <a:endParaRPr lang="en-US" dirty="0" smtClean="0">
              <a:solidFill>
                <a:prstClr val="black"/>
              </a:solidFill>
            </a:endParaRPr>
          </a:p>
          <a:p>
            <a:pPr algn="ctr" eaLnBrk="1" fontAlgn="auto" hangingPunct="1">
              <a:spcAft>
                <a:spcPts val="0"/>
              </a:spcAft>
              <a:defRPr/>
            </a:pPr>
            <a:endParaRPr lang="ru-RU" dirty="0" smtClean="0">
              <a:solidFill>
                <a:prstClr val="black"/>
              </a:solidFill>
            </a:endParaRPr>
          </a:p>
          <a:p>
            <a:pPr algn="ctr" eaLnBrk="1" fontAlgn="auto" hangingPunct="1">
              <a:spcAft>
                <a:spcPts val="0"/>
              </a:spcAft>
              <a:defRPr/>
            </a:pPr>
            <a:endParaRPr lang="ru-RU" dirty="0" smtClean="0"/>
          </a:p>
          <a:p>
            <a:pPr algn="ctr" eaLnBrk="1" fontAlgn="auto" hangingPunct="1">
              <a:spcAft>
                <a:spcPts val="0"/>
              </a:spcAft>
              <a:defRPr/>
            </a:pPr>
            <a:endParaRPr lang="ru-RU" dirty="0"/>
          </a:p>
        </p:txBody>
      </p:sp>
      <p:pic>
        <p:nvPicPr>
          <p:cNvPr id="247813" name="Picture 3" descr="H:\сусанна\презентации\картинки\сканирование\000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80627" y="1306028"/>
            <a:ext cx="3040595" cy="5228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Прямая соединительная линия 6"/>
          <p:cNvCxnSpPr/>
          <p:nvPr/>
        </p:nvCxnSpPr>
        <p:spPr>
          <a:xfrm>
            <a:off x="7608889" y="3789363"/>
            <a:ext cx="2808287"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96335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2"/>
          <p:cNvSpPr>
            <a:spLocks noGrp="1"/>
          </p:cNvSpPr>
          <p:nvPr>
            <p:ph type="title" idx="4294967295"/>
          </p:nvPr>
        </p:nvSpPr>
        <p:spPr>
          <a:xfrm>
            <a:off x="1343472" y="692696"/>
            <a:ext cx="9372600" cy="588963"/>
          </a:xfrm>
        </p:spPr>
        <p:txBody>
          <a:bodyPr/>
          <a:lstStyle/>
          <a:p>
            <a:pPr marL="39688"/>
            <a:r>
              <a:rPr lang="ru-RU" altLang="ru-RU" b="1" dirty="0" smtClean="0">
                <a:solidFill>
                  <a:srgbClr val="FF0000"/>
                </a:solidFill>
              </a:rPr>
              <a:t>Риски инфекции</a:t>
            </a:r>
            <a:r>
              <a:rPr lang="en-US" altLang="ru-RU" b="1" dirty="0" smtClean="0">
                <a:solidFill>
                  <a:srgbClr val="FF0000"/>
                </a:solidFill>
              </a:rPr>
              <a:t> </a:t>
            </a:r>
            <a:r>
              <a:rPr lang="ru-RU" altLang="ru-RU" b="1" dirty="0" smtClean="0">
                <a:solidFill>
                  <a:srgbClr val="FF0000"/>
                </a:solidFill>
              </a:rPr>
              <a:t>у </a:t>
            </a:r>
            <a:r>
              <a:rPr lang="ru-RU" altLang="ru-RU" b="1" dirty="0" err="1" smtClean="0">
                <a:solidFill>
                  <a:srgbClr val="FF0000"/>
                </a:solidFill>
              </a:rPr>
              <a:t>непривитых</a:t>
            </a:r>
            <a:endParaRPr lang="ru-RU" altLang="ru-RU" b="1" dirty="0" smtClean="0">
              <a:solidFill>
                <a:srgbClr val="FF0000"/>
              </a:solidFill>
            </a:endParaRPr>
          </a:p>
        </p:txBody>
      </p:sp>
      <p:graphicFrame>
        <p:nvGraphicFramePr>
          <p:cNvPr id="1614879" name="Group 31">
            <a:extLst>
              <a:ext uri="{FF2B5EF4-FFF2-40B4-BE49-F238E27FC236}"/>
            </a:extLst>
          </p:cNvPr>
          <p:cNvGraphicFramePr>
            <a:graphicFrameLocks noGrp="1"/>
          </p:cNvGraphicFramePr>
          <p:nvPr>
            <p:ph idx="4294967295"/>
            <p:extLst>
              <p:ext uri="{D42A27DB-BD31-4B8C-83A1-F6EECF244321}">
                <p14:modId xmlns:p14="http://schemas.microsoft.com/office/powerpoint/2010/main" val="1994848210"/>
              </p:ext>
            </p:extLst>
          </p:nvPr>
        </p:nvGraphicFramePr>
        <p:xfrm>
          <a:off x="1752600" y="1772816"/>
          <a:ext cx="8532813" cy="4151324"/>
        </p:xfrm>
        <a:graphic>
          <a:graphicData uri="http://schemas.openxmlformats.org/drawingml/2006/table">
            <a:tbl>
              <a:tblPr/>
              <a:tblGrid>
                <a:gridCol w="2141610">
                  <a:extLst>
                    <a:ext uri="{9D8B030D-6E8A-4147-A177-3AD203B41FA5}"/>
                  </a:extLst>
                </a:gridCol>
                <a:gridCol w="6391203">
                  <a:extLst>
                    <a:ext uri="{9D8B030D-6E8A-4147-A177-3AD203B41FA5}"/>
                  </a:extLst>
                </a:gridCol>
              </a:tblGrid>
              <a:tr h="365820">
                <a:tc>
                  <a:txBody>
                    <a:bodyPr/>
                    <a:lstStyle/>
                    <a:p>
                      <a:pPr marL="0" marR="0" lvl="0" indent="0" algn="ctr"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Заболевание</a:t>
                      </a:r>
                    </a:p>
                  </a:txBody>
                  <a:tcPr marL="68583" marR="68583" marT="34276" marB="3427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Осложнения при заболевании</a:t>
                      </a:r>
                    </a:p>
                  </a:txBody>
                  <a:tcPr marL="68583" marR="68583" marT="34276" marB="342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r h="342871">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Столбняк</a:t>
                      </a:r>
                      <a:r>
                        <a:rPr kumimoji="0" lang="ru-RU" sz="1800" b="1" i="0" u="none" strike="noStrike" cap="none" normalizeH="0" baseline="30000" dirty="0">
                          <a:ln>
                            <a:noFill/>
                          </a:ln>
                          <a:solidFill>
                            <a:schemeClr val="tx1"/>
                          </a:solidFill>
                          <a:effectLst/>
                          <a:latin typeface="+mn-lt"/>
                          <a:cs typeface="Arial" pitchFamily="34" charset="0"/>
                        </a:rPr>
                        <a:t>1</a:t>
                      </a:r>
                    </a:p>
                  </a:txBody>
                  <a:tcPr marL="68583" marR="68583" marT="34276" marB="3427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Летальность – до 90 %(у </a:t>
                      </a:r>
                      <a:r>
                        <a:rPr kumimoji="0" lang="ru-RU" sz="1800" b="1" i="0" u="none" strike="noStrike" cap="none" normalizeH="0" baseline="0" dirty="0" err="1">
                          <a:ln>
                            <a:noFill/>
                          </a:ln>
                          <a:solidFill>
                            <a:schemeClr val="tx1"/>
                          </a:solidFill>
                          <a:effectLst/>
                          <a:latin typeface="+mn-lt"/>
                          <a:cs typeface="Arial" pitchFamily="34" charset="0"/>
                        </a:rPr>
                        <a:t>непривитых</a:t>
                      </a:r>
                      <a:r>
                        <a:rPr kumimoji="0" lang="ru-RU" sz="1800" b="1" i="0" u="none" strike="noStrike" cap="none" normalizeH="0" baseline="0" dirty="0">
                          <a:ln>
                            <a:noFill/>
                          </a:ln>
                          <a:solidFill>
                            <a:schemeClr val="tx1"/>
                          </a:solidFill>
                          <a:effectLst/>
                          <a:latin typeface="+mn-lt"/>
                          <a:cs typeface="Arial" pitchFamily="34" charset="0"/>
                        </a:rPr>
                        <a:t>)</a:t>
                      </a:r>
                    </a:p>
                  </a:txBody>
                  <a:tcPr marL="68583" marR="68583" marT="34276" marB="342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r h="946373">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Дифтерия</a:t>
                      </a:r>
                      <a:r>
                        <a:rPr kumimoji="0" lang="ru-RU" sz="1800" b="1" i="0" u="none" strike="noStrike" cap="none" normalizeH="0" baseline="30000" dirty="0">
                          <a:ln>
                            <a:noFill/>
                          </a:ln>
                          <a:solidFill>
                            <a:schemeClr val="tx1"/>
                          </a:solidFill>
                          <a:effectLst/>
                          <a:latin typeface="+mn-lt"/>
                          <a:cs typeface="Arial" pitchFamily="34" charset="0"/>
                        </a:rPr>
                        <a:t>2</a:t>
                      </a:r>
                    </a:p>
                  </a:txBody>
                  <a:tcPr marL="68583" marR="68583" marT="34276" marB="3427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Летальность – до 20%  </a:t>
                      </a:r>
                    </a:p>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Осложнения: поражение сердца до 4,2-84%, поражение нервной системы до 75%</a:t>
                      </a:r>
                    </a:p>
                  </a:txBody>
                  <a:tcPr marL="68583" marR="68583" marT="34276" marB="342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r h="1330420">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Коклюш</a:t>
                      </a:r>
                      <a:r>
                        <a:rPr kumimoji="0" lang="ru-RU" sz="1800" b="1" i="0" u="none" strike="noStrike" cap="none" normalizeH="0" baseline="30000" dirty="0">
                          <a:ln>
                            <a:noFill/>
                          </a:ln>
                          <a:solidFill>
                            <a:schemeClr val="tx1"/>
                          </a:solidFill>
                          <a:effectLst/>
                          <a:latin typeface="+mn-lt"/>
                          <a:cs typeface="Arial" pitchFamily="34" charset="0"/>
                        </a:rPr>
                        <a:t>3</a:t>
                      </a:r>
                    </a:p>
                  </a:txBody>
                  <a:tcPr marL="68583" marR="68583" marT="34276" marB="3427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Летальность – 0,25-4%</a:t>
                      </a:r>
                    </a:p>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Пневмония – 20% Апноэ – до 10%</a:t>
                      </a:r>
                    </a:p>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Поражение нервной системы – 0,7-76%</a:t>
                      </a:r>
                    </a:p>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Геморрагический синдром – 3,4%</a:t>
                      </a:r>
                    </a:p>
                  </a:txBody>
                  <a:tcPr marL="68583" marR="68583" marT="34276" marB="342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r h="1165828">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kumimoji="0" lang="ru-RU" sz="1800" b="1" i="0" u="none" strike="noStrike" cap="none" normalizeH="0" baseline="0" dirty="0">
                          <a:ln>
                            <a:noFill/>
                          </a:ln>
                          <a:solidFill>
                            <a:schemeClr val="tx1"/>
                          </a:solidFill>
                          <a:effectLst/>
                          <a:latin typeface="+mn-lt"/>
                          <a:cs typeface="Arial" pitchFamily="34" charset="0"/>
                        </a:rPr>
                        <a:t>Полиомиелит</a:t>
                      </a:r>
                      <a:r>
                        <a:rPr kumimoji="0" lang="ru-RU" sz="1800" b="1" i="0" u="none" strike="noStrike" cap="none" normalizeH="0" baseline="30000" dirty="0">
                          <a:ln>
                            <a:noFill/>
                          </a:ln>
                          <a:solidFill>
                            <a:schemeClr val="tx1"/>
                          </a:solidFill>
                          <a:effectLst/>
                          <a:latin typeface="+mn-lt"/>
                          <a:cs typeface="Arial" pitchFamily="34" charset="0"/>
                        </a:rPr>
                        <a:t>4</a:t>
                      </a:r>
                    </a:p>
                  </a:txBody>
                  <a:tcPr marL="68583" marR="68583" marT="34276" marB="3427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Pct val="80000"/>
                        <a:buFont typeface="Wingdings" pitchFamily="2" charset="2"/>
                        <a:buNone/>
                        <a:tabLst/>
                      </a:pPr>
                      <a:r>
                        <a:rPr lang="ru-RU" sz="1800" b="1" i="0" kern="1200" dirty="0" err="1">
                          <a:solidFill>
                            <a:schemeClr val="tx1"/>
                          </a:solidFill>
                          <a:effectLst/>
                          <a:latin typeface="+mn-lt"/>
                          <a:ea typeface="+mn-ea"/>
                          <a:cs typeface="+mn-cs"/>
                        </a:rPr>
                        <a:t>Инвалидизация</a:t>
                      </a:r>
                      <a:r>
                        <a:rPr lang="ru-RU" sz="1800" b="1" i="0" kern="1200" dirty="0">
                          <a:solidFill>
                            <a:schemeClr val="tx1"/>
                          </a:solidFill>
                          <a:effectLst/>
                          <a:latin typeface="+mn-lt"/>
                          <a:ea typeface="+mn-ea"/>
                          <a:cs typeface="+mn-cs"/>
                        </a:rPr>
                        <a:t> 100%</a:t>
                      </a:r>
                      <a:r>
                        <a:rPr lang="ru-RU" sz="1800" b="1" i="0" kern="1200" baseline="0" dirty="0">
                          <a:solidFill>
                            <a:schemeClr val="tx1"/>
                          </a:solidFill>
                          <a:effectLst/>
                          <a:latin typeface="+mn-lt"/>
                          <a:ea typeface="+mn-ea"/>
                          <a:cs typeface="+mn-cs"/>
                        </a:rPr>
                        <a:t> </a:t>
                      </a:r>
                      <a:r>
                        <a:rPr lang="ru-RU" sz="1800" b="1" i="0" kern="1200" dirty="0">
                          <a:solidFill>
                            <a:schemeClr val="tx1"/>
                          </a:solidFill>
                          <a:effectLst/>
                          <a:latin typeface="+mn-lt"/>
                          <a:ea typeface="+mn-ea"/>
                          <a:cs typeface="+mn-cs"/>
                        </a:rPr>
                        <a:t>у заболевших паралитическим полиомиелитом, летальность при паралитических</a:t>
                      </a:r>
                      <a:r>
                        <a:rPr lang="ru-RU" sz="1800" b="1" i="0" kern="1200" baseline="0" dirty="0">
                          <a:solidFill>
                            <a:schemeClr val="tx1"/>
                          </a:solidFill>
                          <a:effectLst/>
                          <a:latin typeface="+mn-lt"/>
                          <a:ea typeface="+mn-ea"/>
                          <a:cs typeface="+mn-cs"/>
                        </a:rPr>
                        <a:t> формах </a:t>
                      </a:r>
                      <a:r>
                        <a:rPr lang="ru-RU" sz="1800" b="1" i="0" kern="1200" dirty="0">
                          <a:solidFill>
                            <a:schemeClr val="tx1"/>
                          </a:solidFill>
                          <a:effectLst/>
                          <a:latin typeface="+mn-lt"/>
                          <a:ea typeface="+mn-ea"/>
                          <a:cs typeface="+mn-cs"/>
                        </a:rPr>
                        <a:t>5 -10% у детей и  15 - 30% у подростков и взрослых. </a:t>
                      </a:r>
                      <a:r>
                        <a:rPr lang="ru-RU" sz="1800" b="1" i="0" kern="1200" dirty="0" err="1">
                          <a:solidFill>
                            <a:schemeClr val="tx1"/>
                          </a:solidFill>
                          <a:effectLst/>
                          <a:latin typeface="+mn-lt"/>
                          <a:ea typeface="+mn-ea"/>
                          <a:cs typeface="+mn-cs"/>
                        </a:rPr>
                        <a:t>Постполиомиелитный</a:t>
                      </a:r>
                      <a:r>
                        <a:rPr lang="ru-RU" sz="1800" b="1" i="0" kern="1200" dirty="0">
                          <a:solidFill>
                            <a:schemeClr val="tx1"/>
                          </a:solidFill>
                          <a:effectLst/>
                          <a:latin typeface="+mn-lt"/>
                          <a:ea typeface="+mn-ea"/>
                          <a:cs typeface="+mn-cs"/>
                        </a:rPr>
                        <a:t> синдром -25-50%. </a:t>
                      </a:r>
                      <a:endParaRPr kumimoji="0" lang="ru-RU" sz="1800" b="1" i="0" u="none" strike="noStrike" cap="none" normalizeH="0" baseline="0" dirty="0">
                        <a:ln>
                          <a:noFill/>
                        </a:ln>
                        <a:solidFill>
                          <a:schemeClr val="tx1"/>
                        </a:solidFill>
                        <a:effectLst/>
                        <a:latin typeface="+mn-lt"/>
                        <a:cs typeface="Arial" pitchFamily="34" charset="0"/>
                      </a:endParaRPr>
                    </a:p>
                  </a:txBody>
                  <a:tcPr marL="68583" marR="68583" marT="34276" marB="3427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bl>
          </a:graphicData>
        </a:graphic>
      </p:graphicFrame>
      <p:sp>
        <p:nvSpPr>
          <p:cNvPr id="248855" name="Дата 3"/>
          <p:cNvSpPr>
            <a:spLocks noGrp="1"/>
          </p:cNvSpPr>
          <p:nvPr>
            <p:ph type="dt" sz="quarter" idx="10"/>
          </p:nvPr>
        </p:nvSpPr>
        <p:spPr>
          <a:xfrm>
            <a:off x="1752600" y="5410200"/>
            <a:ext cx="8713788" cy="10604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r>
              <a:rPr lang="ru-RU" altLang="ru-RU" sz="1400">
                <a:solidFill>
                  <a:srgbClr val="000000"/>
                </a:solidFill>
              </a:rPr>
              <a:t/>
            </a:r>
            <a:br>
              <a:rPr lang="ru-RU" altLang="ru-RU" sz="1400">
                <a:solidFill>
                  <a:srgbClr val="000000"/>
                </a:solidFill>
              </a:rPr>
            </a:br>
            <a:endParaRPr lang="ru-RU" altLang="ru-RU" sz="1400" baseline="30000">
              <a:solidFill>
                <a:srgbClr val="000000"/>
              </a:solidFill>
            </a:endParaRPr>
          </a:p>
        </p:txBody>
      </p:sp>
    </p:spTree>
    <p:extLst>
      <p:ext uri="{BB962C8B-B14F-4D97-AF65-F5344CB8AC3E}">
        <p14:creationId xmlns:p14="http://schemas.microsoft.com/office/powerpoint/2010/main" val="332734437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6929" name="Group 33">
            <a:extLst>
              <a:ext uri="{FF2B5EF4-FFF2-40B4-BE49-F238E27FC236}"/>
            </a:extLst>
          </p:cNvPr>
          <p:cNvGraphicFramePr>
            <a:graphicFrameLocks noGrp="1"/>
          </p:cNvGraphicFramePr>
          <p:nvPr>
            <p:extLst>
              <p:ext uri="{D42A27DB-BD31-4B8C-83A1-F6EECF244321}">
                <p14:modId xmlns:p14="http://schemas.microsoft.com/office/powerpoint/2010/main" val="111997839"/>
              </p:ext>
            </p:extLst>
          </p:nvPr>
        </p:nvGraphicFramePr>
        <p:xfrm>
          <a:off x="551384" y="260510"/>
          <a:ext cx="10945216" cy="5733633"/>
        </p:xfrm>
        <a:graphic>
          <a:graphicData uri="http://schemas.openxmlformats.org/drawingml/2006/table">
            <a:tbl>
              <a:tblPr/>
              <a:tblGrid>
                <a:gridCol w="1899584">
                  <a:extLst>
                    <a:ext uri="{9D8B030D-6E8A-4147-A177-3AD203B41FA5}"/>
                  </a:extLst>
                </a:gridCol>
                <a:gridCol w="9045632">
                  <a:extLst>
                    <a:ext uri="{9D8B030D-6E8A-4147-A177-3AD203B41FA5}"/>
                  </a:extLst>
                </a:gridCol>
              </a:tblGrid>
              <a:tr h="1533492">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Корь</a:t>
                      </a:r>
                      <a:r>
                        <a:rPr kumimoji="0" lang="ru-RU" sz="2000" b="1" i="0" u="none" strike="noStrike" cap="none" normalizeH="0" baseline="30000" dirty="0">
                          <a:ln>
                            <a:noFill/>
                          </a:ln>
                          <a:solidFill>
                            <a:schemeClr val="tx1"/>
                          </a:solidFill>
                          <a:effectLst/>
                          <a:latin typeface="+mn-lt"/>
                          <a:cs typeface="Arial" pitchFamily="34" charset="0"/>
                        </a:rPr>
                        <a:t>1</a:t>
                      </a:r>
                    </a:p>
                  </a:txBody>
                  <a:tcPr marL="68574" marR="68574" marT="34274" marB="3427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Летальные исходы- 0,01-5%</a:t>
                      </a:r>
                    </a:p>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Пневмонии – 1 из 5</a:t>
                      </a:r>
                    </a:p>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Энцефалит –1- на 1000-2000. </a:t>
                      </a:r>
                    </a:p>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Подострый </a:t>
                      </a:r>
                      <a:r>
                        <a:rPr kumimoji="0" lang="ru-RU" sz="2000" b="1" i="0" u="none" strike="noStrike" cap="none" normalizeH="0" baseline="0" dirty="0" err="1">
                          <a:ln>
                            <a:noFill/>
                          </a:ln>
                          <a:solidFill>
                            <a:schemeClr val="tx1"/>
                          </a:solidFill>
                          <a:effectLst/>
                          <a:latin typeface="+mn-lt"/>
                          <a:cs typeface="Arial" pitchFamily="34" charset="0"/>
                        </a:rPr>
                        <a:t>склерозирующий</a:t>
                      </a:r>
                      <a:r>
                        <a:rPr kumimoji="0" lang="ru-RU" sz="2000" b="1" i="0" u="none" strike="noStrike" cap="none" normalizeH="0" baseline="0" dirty="0">
                          <a:ln>
                            <a:noFill/>
                          </a:ln>
                          <a:solidFill>
                            <a:schemeClr val="tx1"/>
                          </a:solidFill>
                          <a:effectLst/>
                          <a:latin typeface="+mn-lt"/>
                          <a:cs typeface="Arial" pitchFamily="34" charset="0"/>
                        </a:rPr>
                        <a:t> панэнцефалит – 1-2:10000</a:t>
                      </a:r>
                    </a:p>
                  </a:txBody>
                  <a:tcPr marL="68574" marR="68574" marT="34274" marB="3427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r h="1533492">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Краснуха</a:t>
                      </a:r>
                      <a:r>
                        <a:rPr kumimoji="0" lang="ru-RU" sz="2000" b="1" i="0" u="none" strike="noStrike" cap="none" normalizeH="0" baseline="30000" dirty="0">
                          <a:ln>
                            <a:noFill/>
                          </a:ln>
                          <a:solidFill>
                            <a:schemeClr val="tx1"/>
                          </a:solidFill>
                          <a:effectLst/>
                          <a:latin typeface="+mn-lt"/>
                          <a:cs typeface="Arial" pitchFamily="34" charset="0"/>
                        </a:rPr>
                        <a:t>2</a:t>
                      </a:r>
                    </a:p>
                  </a:txBody>
                  <a:tcPr marL="68574" marR="68574" marT="34274" marB="3427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Энцефалит – 0,2-0,3% . </a:t>
                      </a:r>
                    </a:p>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Врожденная краснуха (пороки развития слуха, зрения, мозга) от 15,9 до 59%, самопроизвольные аборты – </a:t>
                      </a:r>
                      <a:r>
                        <a:rPr kumimoji="0" lang="en-US" sz="2000" b="1" i="0" u="none" strike="noStrike" cap="none" normalizeH="0" baseline="0" dirty="0">
                          <a:ln>
                            <a:noFill/>
                          </a:ln>
                          <a:solidFill>
                            <a:schemeClr val="tx1"/>
                          </a:solidFill>
                          <a:effectLst/>
                          <a:latin typeface="+mn-lt"/>
                          <a:cs typeface="Arial" pitchFamily="34" charset="0"/>
                        </a:rPr>
                        <a:t>10-</a:t>
                      </a:r>
                      <a:r>
                        <a:rPr kumimoji="0" lang="ru-RU" sz="2000" b="1" i="0" u="none" strike="noStrike" cap="none" normalizeH="0" baseline="0" dirty="0">
                          <a:ln>
                            <a:noFill/>
                          </a:ln>
                          <a:solidFill>
                            <a:schemeClr val="tx1"/>
                          </a:solidFill>
                          <a:effectLst/>
                          <a:latin typeface="+mn-lt"/>
                          <a:cs typeface="Arial" pitchFamily="34" charset="0"/>
                        </a:rPr>
                        <a:t>40%, </a:t>
                      </a:r>
                      <a:r>
                        <a:rPr kumimoji="0" lang="ru-RU" sz="2000" b="1" i="0" u="none" strike="noStrike" cap="none" normalizeH="0" baseline="0" dirty="0" err="1">
                          <a:ln>
                            <a:noFill/>
                          </a:ln>
                          <a:solidFill>
                            <a:schemeClr val="tx1"/>
                          </a:solidFill>
                          <a:effectLst/>
                          <a:latin typeface="+mn-lt"/>
                          <a:cs typeface="Arial" pitchFamily="34" charset="0"/>
                        </a:rPr>
                        <a:t>мертворожденность</a:t>
                      </a:r>
                      <a:r>
                        <a:rPr kumimoji="0" lang="ru-RU" sz="2000" b="1" i="0" u="none" strike="noStrike" cap="none" normalizeH="0" baseline="0" dirty="0">
                          <a:ln>
                            <a:noFill/>
                          </a:ln>
                          <a:solidFill>
                            <a:schemeClr val="tx1"/>
                          </a:solidFill>
                          <a:effectLst/>
                          <a:latin typeface="+mn-lt"/>
                          <a:cs typeface="Arial" pitchFamily="34" charset="0"/>
                        </a:rPr>
                        <a:t> – 20%, ранняя неонатальная смертность-25</a:t>
                      </a:r>
                      <a:r>
                        <a:rPr kumimoji="0" lang="ru-RU" sz="2000" b="1" i="0" u="none" strike="noStrike" cap="none" normalizeH="0" baseline="0" dirty="0" smtClean="0">
                          <a:ln>
                            <a:noFill/>
                          </a:ln>
                          <a:solidFill>
                            <a:schemeClr val="tx1"/>
                          </a:solidFill>
                          <a:effectLst/>
                          <a:latin typeface="+mn-lt"/>
                          <a:cs typeface="Arial" pitchFamily="34" charset="0"/>
                        </a:rPr>
                        <a:t>%, поражение суставов до 50-60%</a:t>
                      </a:r>
                      <a:endParaRPr kumimoji="0" lang="ru-RU" sz="2000" b="1" i="0" u="none" strike="noStrike" cap="none" normalizeH="0" baseline="0" dirty="0">
                        <a:ln>
                          <a:noFill/>
                        </a:ln>
                        <a:solidFill>
                          <a:schemeClr val="tx1"/>
                        </a:solidFill>
                        <a:effectLst/>
                        <a:latin typeface="+mn-lt"/>
                        <a:cs typeface="Arial" pitchFamily="34" charset="0"/>
                      </a:endParaRPr>
                    </a:p>
                  </a:txBody>
                  <a:tcPr marL="68574" marR="68574" marT="34274" marB="3427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r h="946497">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Паротит</a:t>
                      </a:r>
                      <a:r>
                        <a:rPr kumimoji="0" lang="en-US" sz="2000" b="1" i="0" u="none" strike="noStrike" cap="none" normalizeH="0" baseline="30000" dirty="0">
                          <a:ln>
                            <a:noFill/>
                          </a:ln>
                          <a:solidFill>
                            <a:schemeClr val="tx1"/>
                          </a:solidFill>
                          <a:effectLst/>
                          <a:latin typeface="+mn-lt"/>
                          <a:cs typeface="Arial" pitchFamily="34" charset="0"/>
                        </a:rPr>
                        <a:t>3</a:t>
                      </a:r>
                      <a:endParaRPr kumimoji="0" lang="ru-RU" sz="2000" b="1" i="0" u="none" strike="noStrike" cap="none" normalizeH="0" baseline="30000" dirty="0">
                        <a:ln>
                          <a:noFill/>
                        </a:ln>
                        <a:solidFill>
                          <a:schemeClr val="tx1"/>
                        </a:solidFill>
                        <a:effectLst/>
                        <a:latin typeface="+mn-lt"/>
                        <a:cs typeface="Arial" pitchFamily="34" charset="0"/>
                      </a:endParaRPr>
                    </a:p>
                  </a:txBody>
                  <a:tcPr marL="68574" marR="68574" marT="34274" marB="3427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Менингиты -10-20%, панкреатит -4%,  энцефалит -1 на 10 000, оофориты-5%,орхиты -  20-30%( в пубертатном периоде),выкидыши, при заболевании беременных </a:t>
                      </a:r>
                    </a:p>
                  </a:txBody>
                  <a:tcPr marL="68574" marR="68574" marT="34274" marB="3427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r h="653000">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Гепатит В</a:t>
                      </a:r>
                      <a:r>
                        <a:rPr kumimoji="0" lang="ru-RU" sz="2000" b="1" i="0" u="none" strike="noStrike" cap="none" normalizeH="0" baseline="30000" dirty="0">
                          <a:ln>
                            <a:noFill/>
                          </a:ln>
                          <a:solidFill>
                            <a:schemeClr val="tx1"/>
                          </a:solidFill>
                          <a:effectLst/>
                          <a:latin typeface="+mn-lt"/>
                          <a:cs typeface="Arial" pitchFamily="34" charset="0"/>
                        </a:rPr>
                        <a:t>2</a:t>
                      </a:r>
                    </a:p>
                  </a:txBody>
                  <a:tcPr marL="68574" marR="68574" marT="34274" marB="3427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err="1">
                          <a:ln>
                            <a:noFill/>
                          </a:ln>
                          <a:solidFill>
                            <a:schemeClr val="tx1"/>
                          </a:solidFill>
                          <a:effectLst/>
                          <a:latin typeface="+mn-lt"/>
                          <a:cs typeface="Arial" pitchFamily="34" charset="0"/>
                        </a:rPr>
                        <a:t>Хр.геп</a:t>
                      </a:r>
                      <a:r>
                        <a:rPr kumimoji="0" lang="ru-RU" sz="2000" b="1" i="0" u="none" strike="noStrike" cap="none" normalizeH="0" baseline="0" dirty="0">
                          <a:ln>
                            <a:noFill/>
                          </a:ln>
                          <a:solidFill>
                            <a:schemeClr val="tx1"/>
                          </a:solidFill>
                          <a:effectLst/>
                          <a:latin typeface="+mn-lt"/>
                          <a:cs typeface="Arial" pitchFamily="34" charset="0"/>
                        </a:rPr>
                        <a:t> у детей при вертикальном заражении- 30-90%, осложнения - цирроз и первичный рак печени</a:t>
                      </a:r>
                    </a:p>
                  </a:txBody>
                  <a:tcPr marL="68574" marR="68574" marT="34274" marB="3427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r h="946497">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30000" dirty="0">
                          <a:ln>
                            <a:noFill/>
                          </a:ln>
                          <a:solidFill>
                            <a:schemeClr val="tx1"/>
                          </a:solidFill>
                          <a:effectLst/>
                          <a:latin typeface="+mn-lt"/>
                          <a:cs typeface="Arial" pitchFamily="34" charset="0"/>
                        </a:rPr>
                        <a:t>4</a:t>
                      </a:r>
                      <a:r>
                        <a:rPr kumimoji="0" lang="ru-RU" sz="2000" b="1" i="0" u="none" strike="noStrike" cap="none" normalizeH="0" baseline="0" dirty="0">
                          <a:ln>
                            <a:noFill/>
                          </a:ln>
                          <a:solidFill>
                            <a:schemeClr val="tx1"/>
                          </a:solidFill>
                          <a:effectLst/>
                          <a:latin typeface="+mn-lt"/>
                          <a:cs typeface="Arial" pitchFamily="34" charset="0"/>
                        </a:rPr>
                        <a:t>Пневмококк и ХИБ </a:t>
                      </a:r>
                    </a:p>
                  </a:txBody>
                  <a:tcPr marL="68574" marR="68574" marT="34274" marB="3427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ts val="2400"/>
                        </a:lnSpc>
                        <a:spcBef>
                          <a:spcPts val="0"/>
                        </a:spcBef>
                        <a:spcAft>
                          <a:spcPct val="0"/>
                        </a:spcAft>
                        <a:buClr>
                          <a:schemeClr val="accent2"/>
                        </a:buClr>
                        <a:buSzPct val="80000"/>
                        <a:buFont typeface="Wingdings" pitchFamily="2" charset="2"/>
                        <a:buNone/>
                        <a:tabLst/>
                      </a:pPr>
                      <a:r>
                        <a:rPr kumimoji="0" lang="ru-RU" sz="2000" b="1" i="0" u="none" strike="noStrike" cap="none" normalizeH="0" baseline="0" dirty="0">
                          <a:ln>
                            <a:noFill/>
                          </a:ln>
                          <a:solidFill>
                            <a:schemeClr val="tx1"/>
                          </a:solidFill>
                          <a:effectLst/>
                          <a:latin typeface="+mn-lt"/>
                          <a:cs typeface="Arial" pitchFamily="34" charset="0"/>
                        </a:rPr>
                        <a:t>Отиты – 28-55%, пневмонии- до 70% в структуре бактериальных отитов и пневмоний, менингит – 2- 5 на 100 000 детей</a:t>
                      </a:r>
                    </a:p>
                  </a:txBody>
                  <a:tcPr marL="68574" marR="68574" marT="34274" marB="3427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extLst>
              </a:tr>
            </a:tbl>
          </a:graphicData>
        </a:graphic>
      </p:graphicFrame>
      <p:sp>
        <p:nvSpPr>
          <p:cNvPr id="249878" name="Дата 2"/>
          <p:cNvSpPr>
            <a:spLocks noGrp="1"/>
          </p:cNvSpPr>
          <p:nvPr>
            <p:ph type="dt" sz="quarter" idx="10"/>
          </p:nvPr>
        </p:nvSpPr>
        <p:spPr>
          <a:xfrm>
            <a:off x="1524000" y="6705600"/>
            <a:ext cx="9144000" cy="1524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endParaRPr lang="ru-RU" altLang="ru-RU" sz="1400" baseline="30000">
              <a:solidFill>
                <a:srgbClr val="000000"/>
              </a:solidFill>
              <a:latin typeface="Times New Roman" pitchFamily="18" charset="0"/>
              <a:cs typeface="Times New Roman" pitchFamily="18" charset="0"/>
            </a:endParaRPr>
          </a:p>
        </p:txBody>
      </p:sp>
    </p:spTree>
    <p:extLst>
      <p:ext uri="{BB962C8B-B14F-4D97-AF65-F5344CB8AC3E}">
        <p14:creationId xmlns:p14="http://schemas.microsoft.com/office/powerpoint/2010/main" val="52729089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2"/>
          <p:cNvSpPr>
            <a:spLocks noGrp="1" noChangeArrowheads="1"/>
          </p:cNvSpPr>
          <p:nvPr>
            <p:ph type="title"/>
          </p:nvPr>
        </p:nvSpPr>
        <p:spPr>
          <a:xfrm>
            <a:off x="263352" y="274638"/>
            <a:ext cx="5832648" cy="1143000"/>
          </a:xfrm>
        </p:spPr>
        <p:txBody>
          <a:bodyPr vert="horz" wrap="square" lIns="92075" tIns="46038" rIns="92075" bIns="46038" numCol="1" anchor="ctr" anchorCtr="0" compatLnSpc="1">
            <a:prstTxWarp prst="textNoShape">
              <a:avLst/>
            </a:prstTxWarp>
          </a:bodyPr>
          <a:lstStyle/>
          <a:p>
            <a:pPr eaLnBrk="1" hangingPunct="1"/>
            <a:r>
              <a:rPr lang="ru-RU" altLang="ru-RU" sz="2800" dirty="0">
                <a:solidFill>
                  <a:schemeClr val="accent2"/>
                </a:solidFill>
              </a:rPr>
              <a:t>Распространенность носительства вируса гепатита B</a:t>
            </a:r>
          </a:p>
        </p:txBody>
      </p:sp>
      <p:pic>
        <p:nvPicPr>
          <p:cNvPr id="250883" name="Picture 3"/>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3946" y="1611963"/>
            <a:ext cx="464820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0884" name="Picture 4"/>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91544" y="4762501"/>
            <a:ext cx="1831975" cy="155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Прямоугольник 1"/>
          <p:cNvSpPr/>
          <p:nvPr/>
        </p:nvSpPr>
        <p:spPr>
          <a:xfrm>
            <a:off x="6136707" y="846138"/>
            <a:ext cx="5760640" cy="1200329"/>
          </a:xfrm>
          <a:prstGeom prst="rect">
            <a:avLst/>
          </a:prstGeom>
        </p:spPr>
        <p:txBody>
          <a:bodyPr wrap="square">
            <a:spAutoFit/>
          </a:bodyPr>
          <a:lstStyle/>
          <a:p>
            <a:pPr fontAlgn="base">
              <a:spcBef>
                <a:spcPct val="0"/>
              </a:spcBef>
              <a:spcAft>
                <a:spcPct val="0"/>
              </a:spcAft>
              <a:defRPr/>
            </a:pPr>
            <a:r>
              <a:rPr lang="ru-RU" altLang="ru-RU" sz="2400" b="1" kern="0" dirty="0">
                <a:solidFill>
                  <a:srgbClr val="000000"/>
                </a:solidFill>
              </a:rPr>
              <a:t>Вакцинация против гепатита В  - одна из составляющих программ профилактики рака печени</a:t>
            </a:r>
            <a:endParaRPr lang="ru-RU" sz="2400" dirty="0">
              <a:solidFill>
                <a:srgbClr val="000000"/>
              </a:solidFill>
            </a:endParaRPr>
          </a:p>
        </p:txBody>
      </p:sp>
      <p:sp>
        <p:nvSpPr>
          <p:cNvPr id="3" name="Прямоугольник 2"/>
          <p:cNvSpPr/>
          <p:nvPr/>
        </p:nvSpPr>
        <p:spPr>
          <a:xfrm>
            <a:off x="6136707" y="2276872"/>
            <a:ext cx="4572000" cy="3170237"/>
          </a:xfrm>
          <a:prstGeom prst="rect">
            <a:avLst/>
          </a:prstGeom>
        </p:spPr>
        <p:txBody>
          <a:bodyPr>
            <a:spAutoFit/>
          </a:bodyPr>
          <a:lstStyle/>
          <a:p>
            <a:pPr marL="342900" indent="-342900" eaLnBrk="0" fontAlgn="base" hangingPunct="0">
              <a:spcBef>
                <a:spcPts val="2400"/>
              </a:spcBef>
              <a:spcAft>
                <a:spcPct val="0"/>
              </a:spcAft>
              <a:buFont typeface="Wingdings" pitchFamily="2" charset="2"/>
              <a:buChar char="q"/>
              <a:defRPr/>
            </a:pPr>
            <a:r>
              <a:rPr lang="ru-RU" sz="2000" b="1" kern="0" dirty="0">
                <a:solidFill>
                  <a:srgbClr val="000000"/>
                </a:solidFill>
              </a:rPr>
              <a:t>Позволяет добиться реального снижения заболеваемости злокачественными новообразованиями </a:t>
            </a:r>
          </a:p>
          <a:p>
            <a:pPr marL="342900" indent="-342900" eaLnBrk="0" fontAlgn="base" hangingPunct="0">
              <a:spcBef>
                <a:spcPts val="2400"/>
              </a:spcBef>
              <a:spcAft>
                <a:spcPct val="0"/>
              </a:spcAft>
              <a:buFont typeface="Wingdings" pitchFamily="2" charset="2"/>
              <a:buChar char="q"/>
              <a:defRPr/>
            </a:pPr>
            <a:r>
              <a:rPr lang="ru-RU" sz="2000" b="1" kern="0" dirty="0">
                <a:solidFill>
                  <a:srgbClr val="000000"/>
                </a:solidFill>
              </a:rPr>
              <a:t>Применение вакцины позволяет ожидать в будущем снижения заболеваемости населения раком печени в нашей стране</a:t>
            </a:r>
          </a:p>
        </p:txBody>
      </p:sp>
      <p:pic>
        <p:nvPicPr>
          <p:cNvPr id="25088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76593" y="5013176"/>
            <a:ext cx="1878013" cy="147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02911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ext Box 2"/>
          <p:cNvSpPr txBox="1">
            <a:spLocks noChangeArrowheads="1"/>
          </p:cNvSpPr>
          <p:nvPr/>
        </p:nvSpPr>
        <p:spPr bwMode="auto">
          <a:xfrm>
            <a:off x="1055440" y="1524000"/>
            <a:ext cx="10153128" cy="985838"/>
          </a:xfrm>
          <a:prstGeom prst="rect">
            <a:avLst/>
          </a:prstGeom>
          <a:gradFill rotWithShape="0">
            <a:gsLst>
              <a:gs pos="0">
                <a:srgbClr val="CCECFF"/>
              </a:gs>
              <a:gs pos="50000">
                <a:srgbClr val="FFFFFF"/>
              </a:gs>
              <a:gs pos="100000">
                <a:srgbClr val="CCECFF"/>
              </a:gs>
            </a:gsLst>
            <a:lin ang="2700000" scaled="1"/>
          </a:gradFill>
          <a:ln w="28575">
            <a:solidFill>
              <a:schemeClr val="accent1"/>
            </a:solidFill>
            <a:miter lim="800000"/>
            <a:headEnd/>
            <a:tailEnd/>
          </a:ln>
          <a:effectLst>
            <a:outerShdw dist="107763" dir="2700000" algn="ctr" rotWithShape="0">
              <a:srgbClr val="808080"/>
            </a:outerShdw>
          </a:effectLst>
        </p:spPr>
        <p:txBody>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eaLnBrk="0" fontAlgn="base" hangingPunct="0">
              <a:spcBef>
                <a:spcPct val="0"/>
              </a:spcBef>
              <a:spcAft>
                <a:spcPct val="0"/>
              </a:spcAft>
            </a:pPr>
            <a:r>
              <a:rPr lang="ru-RU" altLang="ru-RU" sz="1800" b="1" dirty="0">
                <a:solidFill>
                  <a:srgbClr val="000000"/>
                </a:solidFill>
              </a:rPr>
              <a:t>Туберкулез остается одной из основных причин смертности во всем мире благодаря уникальным адаптационным способностям </a:t>
            </a:r>
            <a:r>
              <a:rPr lang="en-US" altLang="ru-RU" sz="1800" b="1" i="1" dirty="0" err="1">
                <a:solidFill>
                  <a:srgbClr val="000000"/>
                </a:solidFill>
              </a:rPr>
              <a:t>M.tuberculosis</a:t>
            </a:r>
            <a:endParaRPr lang="ru-RU" altLang="ru-RU" sz="1800" b="1" i="1" dirty="0">
              <a:solidFill>
                <a:srgbClr val="000000"/>
              </a:solidFill>
            </a:endParaRPr>
          </a:p>
        </p:txBody>
      </p:sp>
      <p:sp>
        <p:nvSpPr>
          <p:cNvPr id="56323" name="Text Box 3"/>
          <p:cNvSpPr txBox="1">
            <a:spLocks noChangeArrowheads="1"/>
          </p:cNvSpPr>
          <p:nvPr/>
        </p:nvSpPr>
        <p:spPr bwMode="auto">
          <a:xfrm>
            <a:off x="1055440" y="2971801"/>
            <a:ext cx="10153128" cy="1446213"/>
          </a:xfrm>
          <a:prstGeom prst="rect">
            <a:avLst/>
          </a:prstGeom>
          <a:gradFill rotWithShape="0">
            <a:gsLst>
              <a:gs pos="0">
                <a:srgbClr val="CCFFCC"/>
              </a:gs>
              <a:gs pos="50000">
                <a:srgbClr val="FFFFFF"/>
              </a:gs>
              <a:gs pos="100000">
                <a:srgbClr val="CCFFCC"/>
              </a:gs>
            </a:gsLst>
            <a:lin ang="2700000" scaled="1"/>
          </a:gradFill>
          <a:ln w="28575">
            <a:solidFill>
              <a:srgbClr val="49F345"/>
            </a:solidFill>
            <a:miter lim="800000"/>
            <a:headEnd/>
            <a:tailEnd/>
          </a:ln>
          <a:effectLst>
            <a:outerShdw dist="107763" dir="2700000" algn="ctr" rotWithShape="0">
              <a:srgbClr val="808080"/>
            </a:outerShdw>
          </a:effectLst>
        </p:spPr>
        <p:txBody>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eaLnBrk="0" fontAlgn="base" hangingPunct="0">
              <a:spcBef>
                <a:spcPct val="0"/>
              </a:spcBef>
              <a:spcAft>
                <a:spcPct val="0"/>
              </a:spcAft>
            </a:pPr>
            <a:r>
              <a:rPr lang="ru-RU" altLang="ru-RU" sz="1800" b="1" dirty="0">
                <a:solidFill>
                  <a:srgbClr val="000000"/>
                </a:solidFill>
              </a:rPr>
              <a:t>Туберкулез убивает около 3 миллионов людей ежегодно. Каждый третий больной СПИДом погибает от туберкулезной инфекции. В некоторых странах до 40% случаев туберкулеза вызвано </a:t>
            </a:r>
            <a:r>
              <a:rPr lang="ru-RU" altLang="ru-RU" sz="1800" b="1" dirty="0" err="1">
                <a:solidFill>
                  <a:srgbClr val="000000"/>
                </a:solidFill>
              </a:rPr>
              <a:t>полирезистентными</a:t>
            </a:r>
            <a:r>
              <a:rPr lang="ru-RU" altLang="ru-RU" sz="1800" b="1" dirty="0">
                <a:solidFill>
                  <a:srgbClr val="000000"/>
                </a:solidFill>
              </a:rPr>
              <a:t> штаммами </a:t>
            </a:r>
            <a:r>
              <a:rPr lang="en-US" altLang="ru-RU" sz="1800" b="1" i="1" dirty="0" err="1">
                <a:solidFill>
                  <a:srgbClr val="000000"/>
                </a:solidFill>
              </a:rPr>
              <a:t>M.tuberculosis</a:t>
            </a:r>
            <a:endParaRPr lang="ru-RU" altLang="ru-RU" sz="1800" b="1" i="1" dirty="0">
              <a:solidFill>
                <a:srgbClr val="000000"/>
              </a:solidFill>
            </a:endParaRPr>
          </a:p>
        </p:txBody>
      </p:sp>
      <p:sp>
        <p:nvSpPr>
          <p:cNvPr id="56324" name="Text Box 4"/>
          <p:cNvSpPr txBox="1">
            <a:spLocks noChangeArrowheads="1"/>
          </p:cNvSpPr>
          <p:nvPr/>
        </p:nvSpPr>
        <p:spPr bwMode="auto">
          <a:xfrm>
            <a:off x="1055440" y="4800600"/>
            <a:ext cx="10225136" cy="1219200"/>
          </a:xfrm>
          <a:prstGeom prst="rect">
            <a:avLst/>
          </a:prstGeom>
          <a:gradFill rotWithShape="0">
            <a:gsLst>
              <a:gs pos="0">
                <a:srgbClr val="FFFF99"/>
              </a:gs>
              <a:gs pos="50000">
                <a:srgbClr val="FFFFFF"/>
              </a:gs>
              <a:gs pos="100000">
                <a:srgbClr val="FFFF99"/>
              </a:gs>
            </a:gsLst>
            <a:lin ang="2700000" scaled="1"/>
          </a:gradFill>
          <a:ln w="28575">
            <a:solidFill>
              <a:schemeClr val="folHlink"/>
            </a:solidFill>
            <a:miter lim="800000"/>
            <a:headEnd/>
            <a:tailEnd/>
          </a:ln>
          <a:effectLst>
            <a:outerShdw dist="107763" dir="2700000" algn="ctr" rotWithShape="0">
              <a:srgbClr val="808080"/>
            </a:outerShdw>
          </a:effectLst>
        </p:spPr>
        <p:txBody>
          <a:bodyPr/>
          <a:lstStyle>
            <a:lvl1pPr>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hangingPunct="0">
              <a:defRPr sz="2000">
                <a:solidFill>
                  <a:schemeClr val="tx1"/>
                </a:solidFill>
                <a:latin typeface="Arial" pitchFamily="34" charset="0"/>
                <a:cs typeface="Arial" pitchFamily="34" charset="0"/>
              </a:defRPr>
            </a:lvl6pPr>
            <a:lvl7pPr eaLnBrk="0" hangingPunct="0">
              <a:defRPr sz="2000">
                <a:solidFill>
                  <a:schemeClr val="tx1"/>
                </a:solidFill>
                <a:latin typeface="Arial" pitchFamily="34" charset="0"/>
                <a:cs typeface="Arial" pitchFamily="34" charset="0"/>
              </a:defRPr>
            </a:lvl7pPr>
            <a:lvl8pPr eaLnBrk="0" hangingPunct="0">
              <a:defRPr sz="2000">
                <a:solidFill>
                  <a:schemeClr val="tx1"/>
                </a:solidFill>
                <a:latin typeface="Arial" pitchFamily="34" charset="0"/>
                <a:cs typeface="Arial" pitchFamily="34" charset="0"/>
              </a:defRPr>
            </a:lvl8pPr>
            <a:lvl9pPr eaLnBrk="0" hangingPunct="0">
              <a:defRPr sz="2000">
                <a:solidFill>
                  <a:schemeClr val="tx1"/>
                </a:solidFill>
                <a:latin typeface="Arial" pitchFamily="34" charset="0"/>
                <a:cs typeface="Arial" pitchFamily="34" charset="0"/>
              </a:defRPr>
            </a:lvl9pPr>
          </a:lstStyle>
          <a:p>
            <a:pPr eaLnBrk="0" fontAlgn="base" hangingPunct="0">
              <a:spcBef>
                <a:spcPct val="0"/>
              </a:spcBef>
              <a:spcAft>
                <a:spcPct val="0"/>
              </a:spcAft>
            </a:pPr>
            <a:r>
              <a:rPr lang="ru-RU" altLang="ru-RU" sz="1800" b="1">
                <a:solidFill>
                  <a:srgbClr val="000000"/>
                </a:solidFill>
              </a:rPr>
              <a:t>Ежегодно от туберкулезной инфекции умирает 25 000 человек.</a:t>
            </a:r>
          </a:p>
        </p:txBody>
      </p:sp>
      <p:sp>
        <p:nvSpPr>
          <p:cNvPr id="251909" name="Прямоугольник 4"/>
          <p:cNvSpPr>
            <a:spLocks noChangeArrowheads="1"/>
          </p:cNvSpPr>
          <p:nvPr/>
        </p:nvSpPr>
        <p:spPr bwMode="auto">
          <a:xfrm>
            <a:off x="4114800" y="304801"/>
            <a:ext cx="48006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fontAlgn="base">
              <a:spcBef>
                <a:spcPct val="0"/>
              </a:spcBef>
              <a:spcAft>
                <a:spcPct val="0"/>
              </a:spcAft>
            </a:pPr>
            <a:r>
              <a:rPr lang="ru-RU" altLang="ru-RU" sz="4800" b="1">
                <a:solidFill>
                  <a:srgbClr val="FF0000"/>
                </a:solidFill>
              </a:rPr>
              <a:t>Туберкулез</a:t>
            </a:r>
            <a:endParaRPr lang="ru-RU" altLang="ru-RU" sz="4800" b="1">
              <a:solidFill>
                <a:srgbClr val="000000"/>
              </a:solidFill>
            </a:endParaRPr>
          </a:p>
        </p:txBody>
      </p:sp>
    </p:spTree>
    <p:extLst>
      <p:ext uri="{BB962C8B-B14F-4D97-AF65-F5344CB8AC3E}">
        <p14:creationId xmlns:p14="http://schemas.microsoft.com/office/powerpoint/2010/main" val="93843614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7" presetClass="entr" presetSubtype="8" fill="hold" grpId="0" nodeType="afterEffect">
                                  <p:stCondLst>
                                    <p:cond delay="1000"/>
                                  </p:stCondLst>
                                  <p:childTnLst>
                                    <p:set>
                                      <p:cBhvr>
                                        <p:cTn id="6" dur="1" fill="hold">
                                          <p:stCondLst>
                                            <p:cond delay="0"/>
                                          </p:stCondLst>
                                        </p:cTn>
                                        <p:tgtEl>
                                          <p:spTgt spid="56322"/>
                                        </p:tgtEl>
                                        <p:attrNameLst>
                                          <p:attrName>style.visibility</p:attrName>
                                        </p:attrNameLst>
                                      </p:cBhvr>
                                      <p:to>
                                        <p:strVal val="visible"/>
                                      </p:to>
                                    </p:set>
                                    <p:anim calcmode="lin" valueType="num">
                                      <p:cBhvr>
                                        <p:cTn id="7" dur="500" fill="hold"/>
                                        <p:tgtEl>
                                          <p:spTgt spid="56322"/>
                                        </p:tgtEl>
                                        <p:attrNameLst>
                                          <p:attrName>ppt_x</p:attrName>
                                        </p:attrNameLst>
                                      </p:cBhvr>
                                      <p:tavLst>
                                        <p:tav tm="0">
                                          <p:val>
                                            <p:strVal val="#ppt_x-#ppt_w/2"/>
                                          </p:val>
                                        </p:tav>
                                        <p:tav tm="100000">
                                          <p:val>
                                            <p:strVal val="#ppt_x"/>
                                          </p:val>
                                        </p:tav>
                                      </p:tavLst>
                                    </p:anim>
                                    <p:anim calcmode="lin" valueType="num">
                                      <p:cBhvr>
                                        <p:cTn id="8" dur="500" fill="hold"/>
                                        <p:tgtEl>
                                          <p:spTgt spid="56322"/>
                                        </p:tgtEl>
                                        <p:attrNameLst>
                                          <p:attrName>ppt_y</p:attrName>
                                        </p:attrNameLst>
                                      </p:cBhvr>
                                      <p:tavLst>
                                        <p:tav tm="0">
                                          <p:val>
                                            <p:strVal val="#ppt_y"/>
                                          </p:val>
                                        </p:tav>
                                        <p:tav tm="100000">
                                          <p:val>
                                            <p:strVal val="#ppt_y"/>
                                          </p:val>
                                        </p:tav>
                                      </p:tavLst>
                                    </p:anim>
                                    <p:anim calcmode="lin" valueType="num">
                                      <p:cBhvr>
                                        <p:cTn id="9" dur="500" fill="hold"/>
                                        <p:tgtEl>
                                          <p:spTgt spid="56322"/>
                                        </p:tgtEl>
                                        <p:attrNameLst>
                                          <p:attrName>ppt_w</p:attrName>
                                        </p:attrNameLst>
                                      </p:cBhvr>
                                      <p:tavLst>
                                        <p:tav tm="0">
                                          <p:val>
                                            <p:fltVal val="0"/>
                                          </p:val>
                                        </p:tav>
                                        <p:tav tm="100000">
                                          <p:val>
                                            <p:strVal val="#ppt_w"/>
                                          </p:val>
                                        </p:tav>
                                      </p:tavLst>
                                    </p:anim>
                                    <p:anim calcmode="lin" valueType="num">
                                      <p:cBhvr>
                                        <p:cTn id="10" dur="500" fill="hold"/>
                                        <p:tgtEl>
                                          <p:spTgt spid="56322"/>
                                        </p:tgtEl>
                                        <p:attrNameLst>
                                          <p:attrName>ppt_h</p:attrName>
                                        </p:attrNameLst>
                                      </p:cBhvr>
                                      <p:tavLst>
                                        <p:tav tm="0">
                                          <p:val>
                                            <p:strVal val="#ppt_h"/>
                                          </p:val>
                                        </p:tav>
                                        <p:tav tm="100000">
                                          <p:val>
                                            <p:strVal val="#ppt_h"/>
                                          </p:val>
                                        </p:tav>
                                      </p:tavLst>
                                    </p:anim>
                                  </p:childTnLst>
                                </p:cTn>
                              </p:par>
                            </p:childTnLst>
                          </p:cTn>
                        </p:par>
                        <p:par>
                          <p:cTn id="11" fill="hold" nodeType="afterGroup">
                            <p:stCondLst>
                              <p:cond delay="1500"/>
                            </p:stCondLst>
                            <p:childTnLst>
                              <p:par>
                                <p:cTn id="12" presetID="17" presetClass="entr" presetSubtype="8" fill="hold" grpId="0" nodeType="afterEffect">
                                  <p:stCondLst>
                                    <p:cond delay="1000"/>
                                  </p:stCondLst>
                                  <p:childTnLst>
                                    <p:set>
                                      <p:cBhvr>
                                        <p:cTn id="13" dur="1" fill="hold">
                                          <p:stCondLst>
                                            <p:cond delay="0"/>
                                          </p:stCondLst>
                                        </p:cTn>
                                        <p:tgtEl>
                                          <p:spTgt spid="56323"/>
                                        </p:tgtEl>
                                        <p:attrNameLst>
                                          <p:attrName>style.visibility</p:attrName>
                                        </p:attrNameLst>
                                      </p:cBhvr>
                                      <p:to>
                                        <p:strVal val="visible"/>
                                      </p:to>
                                    </p:set>
                                    <p:anim calcmode="lin" valueType="num">
                                      <p:cBhvr>
                                        <p:cTn id="14" dur="500" fill="hold"/>
                                        <p:tgtEl>
                                          <p:spTgt spid="56323"/>
                                        </p:tgtEl>
                                        <p:attrNameLst>
                                          <p:attrName>ppt_x</p:attrName>
                                        </p:attrNameLst>
                                      </p:cBhvr>
                                      <p:tavLst>
                                        <p:tav tm="0">
                                          <p:val>
                                            <p:strVal val="#ppt_x-#ppt_w/2"/>
                                          </p:val>
                                        </p:tav>
                                        <p:tav tm="100000">
                                          <p:val>
                                            <p:strVal val="#ppt_x"/>
                                          </p:val>
                                        </p:tav>
                                      </p:tavLst>
                                    </p:anim>
                                    <p:anim calcmode="lin" valueType="num">
                                      <p:cBhvr>
                                        <p:cTn id="15" dur="500" fill="hold"/>
                                        <p:tgtEl>
                                          <p:spTgt spid="56323"/>
                                        </p:tgtEl>
                                        <p:attrNameLst>
                                          <p:attrName>ppt_y</p:attrName>
                                        </p:attrNameLst>
                                      </p:cBhvr>
                                      <p:tavLst>
                                        <p:tav tm="0">
                                          <p:val>
                                            <p:strVal val="#ppt_y"/>
                                          </p:val>
                                        </p:tav>
                                        <p:tav tm="100000">
                                          <p:val>
                                            <p:strVal val="#ppt_y"/>
                                          </p:val>
                                        </p:tav>
                                      </p:tavLst>
                                    </p:anim>
                                    <p:anim calcmode="lin" valueType="num">
                                      <p:cBhvr>
                                        <p:cTn id="16" dur="500" fill="hold"/>
                                        <p:tgtEl>
                                          <p:spTgt spid="56323"/>
                                        </p:tgtEl>
                                        <p:attrNameLst>
                                          <p:attrName>ppt_w</p:attrName>
                                        </p:attrNameLst>
                                      </p:cBhvr>
                                      <p:tavLst>
                                        <p:tav tm="0">
                                          <p:val>
                                            <p:fltVal val="0"/>
                                          </p:val>
                                        </p:tav>
                                        <p:tav tm="100000">
                                          <p:val>
                                            <p:strVal val="#ppt_w"/>
                                          </p:val>
                                        </p:tav>
                                      </p:tavLst>
                                    </p:anim>
                                    <p:anim calcmode="lin" valueType="num">
                                      <p:cBhvr>
                                        <p:cTn id="17" dur="500" fill="hold"/>
                                        <p:tgtEl>
                                          <p:spTgt spid="56323"/>
                                        </p:tgtEl>
                                        <p:attrNameLst>
                                          <p:attrName>ppt_h</p:attrName>
                                        </p:attrNameLst>
                                      </p:cBhvr>
                                      <p:tavLst>
                                        <p:tav tm="0">
                                          <p:val>
                                            <p:strVal val="#ppt_h"/>
                                          </p:val>
                                        </p:tav>
                                        <p:tav tm="100000">
                                          <p:val>
                                            <p:strVal val="#ppt_h"/>
                                          </p:val>
                                        </p:tav>
                                      </p:tavLst>
                                    </p:anim>
                                  </p:childTnLst>
                                </p:cTn>
                              </p:par>
                            </p:childTnLst>
                          </p:cTn>
                        </p:par>
                        <p:par>
                          <p:cTn id="18" fill="hold" nodeType="afterGroup">
                            <p:stCondLst>
                              <p:cond delay="3000"/>
                            </p:stCondLst>
                            <p:childTnLst>
                              <p:par>
                                <p:cTn id="19" presetID="17" presetClass="entr" presetSubtype="8" fill="hold" grpId="0" nodeType="afterEffect">
                                  <p:stCondLst>
                                    <p:cond delay="1000"/>
                                  </p:stCondLst>
                                  <p:childTnLst>
                                    <p:set>
                                      <p:cBhvr>
                                        <p:cTn id="20" dur="1" fill="hold">
                                          <p:stCondLst>
                                            <p:cond delay="0"/>
                                          </p:stCondLst>
                                        </p:cTn>
                                        <p:tgtEl>
                                          <p:spTgt spid="56324"/>
                                        </p:tgtEl>
                                        <p:attrNameLst>
                                          <p:attrName>style.visibility</p:attrName>
                                        </p:attrNameLst>
                                      </p:cBhvr>
                                      <p:to>
                                        <p:strVal val="visible"/>
                                      </p:to>
                                    </p:set>
                                    <p:anim calcmode="lin" valueType="num">
                                      <p:cBhvr>
                                        <p:cTn id="21" dur="500" fill="hold"/>
                                        <p:tgtEl>
                                          <p:spTgt spid="56324"/>
                                        </p:tgtEl>
                                        <p:attrNameLst>
                                          <p:attrName>ppt_x</p:attrName>
                                        </p:attrNameLst>
                                      </p:cBhvr>
                                      <p:tavLst>
                                        <p:tav tm="0">
                                          <p:val>
                                            <p:strVal val="#ppt_x-#ppt_w/2"/>
                                          </p:val>
                                        </p:tav>
                                        <p:tav tm="100000">
                                          <p:val>
                                            <p:strVal val="#ppt_x"/>
                                          </p:val>
                                        </p:tav>
                                      </p:tavLst>
                                    </p:anim>
                                    <p:anim calcmode="lin" valueType="num">
                                      <p:cBhvr>
                                        <p:cTn id="22" dur="500" fill="hold"/>
                                        <p:tgtEl>
                                          <p:spTgt spid="56324"/>
                                        </p:tgtEl>
                                        <p:attrNameLst>
                                          <p:attrName>ppt_y</p:attrName>
                                        </p:attrNameLst>
                                      </p:cBhvr>
                                      <p:tavLst>
                                        <p:tav tm="0">
                                          <p:val>
                                            <p:strVal val="#ppt_y"/>
                                          </p:val>
                                        </p:tav>
                                        <p:tav tm="100000">
                                          <p:val>
                                            <p:strVal val="#ppt_y"/>
                                          </p:val>
                                        </p:tav>
                                      </p:tavLst>
                                    </p:anim>
                                    <p:anim calcmode="lin" valueType="num">
                                      <p:cBhvr>
                                        <p:cTn id="23" dur="500" fill="hold"/>
                                        <p:tgtEl>
                                          <p:spTgt spid="56324"/>
                                        </p:tgtEl>
                                        <p:attrNameLst>
                                          <p:attrName>ppt_w</p:attrName>
                                        </p:attrNameLst>
                                      </p:cBhvr>
                                      <p:tavLst>
                                        <p:tav tm="0">
                                          <p:val>
                                            <p:fltVal val="0"/>
                                          </p:val>
                                        </p:tav>
                                        <p:tav tm="100000">
                                          <p:val>
                                            <p:strVal val="#ppt_w"/>
                                          </p:val>
                                        </p:tav>
                                      </p:tavLst>
                                    </p:anim>
                                    <p:anim calcmode="lin" valueType="num">
                                      <p:cBhvr>
                                        <p:cTn id="24" dur="500" fill="hold"/>
                                        <p:tgtEl>
                                          <p:spTgt spid="56324"/>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322" grpId="0" animBg="1" autoUpdateAnimBg="0"/>
      <p:bldP spid="56323" grpId="0" animBg="1" autoUpdateAnimBg="0"/>
      <p:bldP spid="56324" grpId="0" animBg="1"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4.xml.rels><?xml version="1.0" encoding="UTF-8" standalone="yes"?>
<Relationships xmlns="http://schemas.openxmlformats.org/package/2006/relationships"><Relationship Id="rId1" Type="http://schemas.openxmlformats.org/officeDocument/2006/relationships/image" Target="../media/image3.jpeg"/></Relationships>
</file>

<file path=ppt/theme/_rels/theme25.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7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8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9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0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1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2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3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4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5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6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7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8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Parcel">
  <a:themeElements>
    <a:clrScheme name="Желтый и оранжевый">
      <a:dk1>
        <a:sysClr val="windowText" lastClr="000000"/>
      </a:dk1>
      <a:lt1>
        <a:sysClr val="window" lastClr="FFFFFF"/>
      </a:lt1>
      <a:dk2>
        <a:srgbClr val="4E3B30"/>
      </a:dk2>
      <a:lt2>
        <a:srgbClr val="FBEEC9"/>
      </a:lt2>
      <a:accent1>
        <a:srgbClr val="F0A22E"/>
      </a:accent1>
      <a:accent2>
        <a:srgbClr val="A5644E"/>
      </a:accent2>
      <a:accent3>
        <a:srgbClr val="B58B80"/>
      </a:accent3>
      <a:accent4>
        <a:srgbClr val="C3986D"/>
      </a:accent4>
      <a:accent5>
        <a:srgbClr val="A19574"/>
      </a:accent5>
      <a:accent6>
        <a:srgbClr val="C17529"/>
      </a:accent6>
      <a:hlink>
        <a:srgbClr val="AD1F1F"/>
      </a:hlink>
      <a:folHlink>
        <a:srgbClr val="FFC42F"/>
      </a:folHlink>
    </a:clrScheme>
    <a:fontScheme name="Parcel">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0BDC4BB7-8AF9-46FD-8C32-AB93AC9C4100}"/>
    </a:ext>
  </a:extLst>
</a:theme>
</file>

<file path=ppt/theme/theme23.xml><?xml version="1.0" encoding="utf-8"?>
<a:theme xmlns:a="http://schemas.openxmlformats.org/drawingml/2006/main" name="19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Ион">
  <a:themeElements>
    <a:clrScheme name="Ион">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4849A"/>
      </a:accent5>
      <a:accent6>
        <a:srgbClr val="9E5E9B"/>
      </a:accent6>
      <a:hlink>
        <a:srgbClr val="58C1BA"/>
      </a:hlink>
      <a:folHlink>
        <a:srgbClr val="9DFFCB"/>
      </a:folHlink>
    </a:clrScheme>
    <a:fontScheme name="Ион">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Ион">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25.xml><?xml version="1.0" encoding="utf-8"?>
<a:theme xmlns:a="http://schemas.openxmlformats.org/drawingml/2006/main" name="1_Ион">
  <a:themeElements>
    <a:clrScheme name="Ион">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4849A"/>
      </a:accent5>
      <a:accent6>
        <a:srgbClr val="9E5E9B"/>
      </a:accent6>
      <a:hlink>
        <a:srgbClr val="58C1BA"/>
      </a:hlink>
      <a:folHlink>
        <a:srgbClr val="9DFFCB"/>
      </a:folHlink>
    </a:clrScheme>
    <a:fontScheme name="Ион">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Ион">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26.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8_Тема1">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Воздушный поток">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Воздушный поток">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Override>
</file>

<file path=docProps/app.xml><?xml version="1.0" encoding="utf-8"?>
<Properties xmlns="http://schemas.openxmlformats.org/officeDocument/2006/extended-properties" xmlns:vt="http://schemas.openxmlformats.org/officeDocument/2006/docPropsVTypes">
  <TotalTime>932</TotalTime>
  <Words>2507</Words>
  <Application>Microsoft Office PowerPoint</Application>
  <PresentationFormat>Широкоэкранный</PresentationFormat>
  <Paragraphs>297</Paragraphs>
  <Slides>30</Slides>
  <Notes>17</Notes>
  <HiddenSlides>0</HiddenSlides>
  <MMClips>0</MMClips>
  <ScaleCrop>false</ScaleCrop>
  <HeadingPairs>
    <vt:vector size="8" baseType="variant">
      <vt:variant>
        <vt:lpstr>Использованные шрифты</vt:lpstr>
      </vt:variant>
      <vt:variant>
        <vt:i4>20</vt:i4>
      </vt:variant>
      <vt:variant>
        <vt:lpstr>Тема</vt:lpstr>
      </vt:variant>
      <vt:variant>
        <vt:i4>25</vt:i4>
      </vt:variant>
      <vt:variant>
        <vt:lpstr>Внедренные серверы OLE</vt:lpstr>
      </vt:variant>
      <vt:variant>
        <vt:i4>2</vt:i4>
      </vt:variant>
      <vt:variant>
        <vt:lpstr>Заголовки слайдов</vt:lpstr>
      </vt:variant>
      <vt:variant>
        <vt:i4>30</vt:i4>
      </vt:variant>
    </vt:vector>
  </HeadingPairs>
  <TitlesOfParts>
    <vt:vector size="77" baseType="lpstr">
      <vt:lpstr>Arial Unicode MS</vt:lpstr>
      <vt:lpstr>Microsoft YaHei</vt:lpstr>
      <vt:lpstr>MS Gothic</vt:lpstr>
      <vt:lpstr>Arial</vt:lpstr>
      <vt:lpstr>Arial Black</vt:lpstr>
      <vt:lpstr>Arial Narrow</vt:lpstr>
      <vt:lpstr>Calibri</vt:lpstr>
      <vt:lpstr>Century Gothic</vt:lpstr>
      <vt:lpstr>Corbel</vt:lpstr>
      <vt:lpstr>Droid Sans Fallback</vt:lpstr>
      <vt:lpstr>Georgia</vt:lpstr>
      <vt:lpstr>Gill Sans MT</vt:lpstr>
      <vt:lpstr>Microsoft Sans Serif</vt:lpstr>
      <vt:lpstr>Symbol</vt:lpstr>
      <vt:lpstr>Tahoma</vt:lpstr>
      <vt:lpstr>Times</vt:lpstr>
      <vt:lpstr>Times New Roman</vt:lpstr>
      <vt:lpstr>Trebuchet MS</vt:lpstr>
      <vt:lpstr>Wingdings</vt:lpstr>
      <vt:lpstr>Wingdings 3</vt:lpstr>
      <vt:lpstr>Тема Office</vt:lpstr>
      <vt:lpstr>Оформление по умолчанию</vt:lpstr>
      <vt:lpstr>8_Тема1</vt:lpstr>
      <vt:lpstr>6_Оформление по умолчанию</vt:lpstr>
      <vt:lpstr>1_Оформление по умолчанию</vt:lpstr>
      <vt:lpstr>2_Оформление по умолчанию</vt:lpstr>
      <vt:lpstr>3_Оформление по умолчанию</vt:lpstr>
      <vt:lpstr>4_Оформление по умолчанию</vt:lpstr>
      <vt:lpstr>5_Оформление по умолчанию</vt:lpstr>
      <vt:lpstr>7_Оформление по умолчанию</vt:lpstr>
      <vt:lpstr>8_Оформление по умолчанию</vt:lpstr>
      <vt:lpstr>9_Оформление по умолчанию</vt:lpstr>
      <vt:lpstr>10_Оформление по умолчанию</vt:lpstr>
      <vt:lpstr>11_Оформление по умолчанию</vt:lpstr>
      <vt:lpstr>12_Оформление по умолчанию</vt:lpstr>
      <vt:lpstr>13_Оформление по умолчанию</vt:lpstr>
      <vt:lpstr>14_Оформление по умолчанию</vt:lpstr>
      <vt:lpstr>15_Оформление по умолчанию</vt:lpstr>
      <vt:lpstr>16_Оформление по умолчанию</vt:lpstr>
      <vt:lpstr>17_Оформление по умолчанию</vt:lpstr>
      <vt:lpstr>18_Оформление по умолчанию</vt:lpstr>
      <vt:lpstr>Parcel</vt:lpstr>
      <vt:lpstr>19_Оформление по умолчанию</vt:lpstr>
      <vt:lpstr>Ион</vt:lpstr>
      <vt:lpstr>1_Ион</vt:lpstr>
      <vt:lpstr>think-cell Slide</vt:lpstr>
      <vt:lpstr>Диаграмма Microsoft Excel</vt:lpstr>
      <vt:lpstr>Презентация PowerPoint</vt:lpstr>
      <vt:lpstr>Сегодняшние дети - завтрашняя Россия</vt:lpstr>
      <vt:lpstr>«Декада вакцин»</vt:lpstr>
      <vt:lpstr>Инфекционные  болезни - одна из ведущих причин смертности на Земле. Из 52 млн. смертей, регистрируемых ежегодно, 17 млн. обусловлены инфекциями, из них 12 млн. - дети младше 5-ти лет</vt:lpstr>
      <vt:lpstr>21 век – Вакцинация</vt:lpstr>
      <vt:lpstr>Риски инфекции у непривитых</vt:lpstr>
      <vt:lpstr>Презентация PowerPoint</vt:lpstr>
      <vt:lpstr>Распространенность носительства вируса гепатита B</vt:lpstr>
      <vt:lpstr>Презентация PowerPoint</vt:lpstr>
      <vt:lpstr>Достоинства вакцинации против туберкулеза:</vt:lpstr>
      <vt:lpstr>Презентация PowerPoint</vt:lpstr>
      <vt:lpstr>КОКЛЮШ - это острое высококонтагиозное инфекционное  заболевание</vt:lpstr>
      <vt:lpstr>Дифтерия: бремя болезни</vt:lpstr>
      <vt:lpstr>Программа «Элиминация кори и краснухи в Российской Федерации» (2016-2020 (2025) г.</vt:lpstr>
      <vt:lpstr>Презентация PowerPoint</vt:lpstr>
      <vt:lpstr>Презентация PowerPoint</vt:lpstr>
      <vt:lpstr>Вакцинопрофилактика эпидемического  паротита</vt:lpstr>
      <vt:lpstr>Новое в НАЦИОНАЛЬНОМ КАЛЕНДАРЕ </vt:lpstr>
      <vt:lpstr>Презентация PowerPoint</vt:lpstr>
      <vt:lpstr>Носительство в носоглотке гемофильной палочки</vt:lpstr>
      <vt:lpstr>Менингококковая инфекция и возможности ее вакцинопрофилактики</vt:lpstr>
      <vt:lpstr>Эпидемиология МИ</vt:lpstr>
      <vt:lpstr>Ветряная оспа - небезопасное заболевание Серьезное заболевание, которое часто недооценивают </vt:lpstr>
      <vt:lpstr>Презентация PowerPoint</vt:lpstr>
      <vt:lpstr>Ротавирусная инфекция: проблемы и решения</vt:lpstr>
      <vt:lpstr>Презентация PowerPoint</vt:lpstr>
      <vt:lpstr>В Российской Федерации для вакцинации против COVID-19 у взрослых лиц зарегистрированы следующие вакцины:  </vt:lpstr>
      <vt:lpstr>Показатель вакцинации в 2020 году (по данным Роспотребнадзора ХК) </vt:lpstr>
      <vt:lpstr>Презентация PowerPoint</vt:lpstr>
      <vt:lpstr>Презентация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Софья Михайловна</dc:creator>
  <cp:lastModifiedBy>Сарашевская Светлана Наумовна</cp:lastModifiedBy>
  <cp:revision>8</cp:revision>
  <dcterms:created xsi:type="dcterms:W3CDTF">2021-12-16T07:13:51Z</dcterms:created>
  <dcterms:modified xsi:type="dcterms:W3CDTF">2021-12-16T23:45:11Z</dcterms:modified>
</cp:coreProperties>
</file>